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63"/>
  </p:notesMasterIdLst>
  <p:handoutMasterIdLst>
    <p:handoutMasterId r:id="rId64"/>
  </p:handoutMasterIdLst>
  <p:sldIdLst>
    <p:sldId id="533" r:id="rId5"/>
    <p:sldId id="893" r:id="rId6"/>
    <p:sldId id="895" r:id="rId7"/>
    <p:sldId id="929" r:id="rId8"/>
    <p:sldId id="930" r:id="rId9"/>
    <p:sldId id="927" r:id="rId10"/>
    <p:sldId id="931" r:id="rId11"/>
    <p:sldId id="928" r:id="rId12"/>
    <p:sldId id="594" r:id="rId13"/>
    <p:sldId id="924" r:id="rId14"/>
    <p:sldId id="919" r:id="rId15"/>
    <p:sldId id="569" r:id="rId16"/>
    <p:sldId id="923" r:id="rId17"/>
    <p:sldId id="622" r:id="rId18"/>
    <p:sldId id="459" r:id="rId19"/>
    <p:sldId id="915" r:id="rId20"/>
    <p:sldId id="507" r:id="rId21"/>
    <p:sldId id="692" r:id="rId22"/>
    <p:sldId id="516" r:id="rId23"/>
    <p:sldId id="508" r:id="rId24"/>
    <p:sldId id="896" r:id="rId25"/>
    <p:sldId id="911" r:id="rId26"/>
    <p:sldId id="912" r:id="rId27"/>
    <p:sldId id="502" r:id="rId28"/>
    <p:sldId id="512" r:id="rId29"/>
    <p:sldId id="513" r:id="rId30"/>
    <p:sldId id="514" r:id="rId31"/>
    <p:sldId id="515" r:id="rId32"/>
    <p:sldId id="936" r:id="rId33"/>
    <p:sldId id="937" r:id="rId34"/>
    <p:sldId id="938" r:id="rId35"/>
    <p:sldId id="899" r:id="rId36"/>
    <p:sldId id="521" r:id="rId37"/>
    <p:sldId id="934" r:id="rId38"/>
    <p:sldId id="933" r:id="rId39"/>
    <p:sldId id="519" r:id="rId40"/>
    <p:sldId id="518" r:id="rId41"/>
    <p:sldId id="517" r:id="rId42"/>
    <p:sldId id="620" r:id="rId43"/>
    <p:sldId id="708" r:id="rId44"/>
    <p:sldId id="897" r:id="rId45"/>
    <p:sldId id="904" r:id="rId46"/>
    <p:sldId id="903" r:id="rId47"/>
    <p:sldId id="906" r:id="rId48"/>
    <p:sldId id="907" r:id="rId49"/>
    <p:sldId id="909" r:id="rId50"/>
    <p:sldId id="910" r:id="rId51"/>
    <p:sldId id="905" r:id="rId52"/>
    <p:sldId id="891" r:id="rId53"/>
    <p:sldId id="522" r:id="rId54"/>
    <p:sldId id="935" r:id="rId55"/>
    <p:sldId id="488" r:id="rId56"/>
    <p:sldId id="925" r:id="rId57"/>
    <p:sldId id="266" r:id="rId58"/>
    <p:sldId id="552" r:id="rId59"/>
    <p:sldId id="563" r:id="rId60"/>
    <p:sldId id="564" r:id="rId61"/>
    <p:sldId id="565" r:id="rId62"/>
  </p:sldIdLst>
  <p:sldSz cx="9144000" cy="5143500" type="screen16x9"/>
  <p:notesSz cx="7104063" cy="10234613"/>
  <p:custDataLst>
    <p:tags r:id="rId65"/>
  </p:custDataLst>
  <p:defaultTextStyle>
    <a:defPPr>
      <a:defRPr lang="da-DK"/>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3C4C"/>
    <a:srgbClr val="B2B2B2"/>
    <a:srgbClr val="F1F5E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9E77476-0330-43D5-BF27-7AEDF728582C}" v="2" dt="2022-05-17T11:39:16.8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304" autoAdjust="0"/>
    <p:restoredTop sz="84582" autoAdjust="0"/>
  </p:normalViewPr>
  <p:slideViewPr>
    <p:cSldViewPr snapToGrid="0" snapToObjects="1">
      <p:cViewPr varScale="1">
        <p:scale>
          <a:sx n="117" d="100"/>
          <a:sy n="117" d="100"/>
        </p:scale>
        <p:origin x="42" y="405"/>
      </p:cViewPr>
      <p:guideLst/>
    </p:cSldViewPr>
  </p:slideViewPr>
  <p:notesTextViewPr>
    <p:cViewPr>
      <p:scale>
        <a:sx n="1" d="1"/>
        <a:sy n="1" d="1"/>
      </p:scale>
      <p:origin x="0" y="0"/>
    </p:cViewPr>
  </p:notesTextViewPr>
  <p:sorterViewPr>
    <p:cViewPr>
      <p:scale>
        <a:sx n="69" d="100"/>
        <a:sy n="69"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 Target="slides/slide3.xml"/><Relationship Id="rId71"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handoutMaster" Target="handoutMasters/handoutMaster1.xml"/><Relationship Id="rId69"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an Vad Mathiesen" userId="8a78f856-4b15-4561-8b43-ae1e886d028a" providerId="ADAL" clId="{A9E77476-0330-43D5-BF27-7AEDF728582C}"/>
    <pc:docChg chg="custSel addSld modSld sldOrd">
      <pc:chgData name="Brian Vad Mathiesen" userId="8a78f856-4b15-4561-8b43-ae1e886d028a" providerId="ADAL" clId="{A9E77476-0330-43D5-BF27-7AEDF728582C}" dt="2022-05-17T11:43:35.538" v="51" actId="20577"/>
      <pc:docMkLst>
        <pc:docMk/>
      </pc:docMkLst>
      <pc:sldChg chg="add">
        <pc:chgData name="Brian Vad Mathiesen" userId="8a78f856-4b15-4561-8b43-ae1e886d028a" providerId="ADAL" clId="{A9E77476-0330-43D5-BF27-7AEDF728582C}" dt="2022-05-17T11:38:40.739" v="4"/>
        <pc:sldMkLst>
          <pc:docMk/>
          <pc:sldMk cId="3248724521" sldId="508"/>
        </pc:sldMkLst>
      </pc:sldChg>
      <pc:sldChg chg="modSp add mod">
        <pc:chgData name="Brian Vad Mathiesen" userId="8a78f856-4b15-4561-8b43-ae1e886d028a" providerId="ADAL" clId="{A9E77476-0330-43D5-BF27-7AEDF728582C}" dt="2022-05-17T11:39:24.725" v="7" actId="1076"/>
        <pc:sldMkLst>
          <pc:docMk/>
          <pc:sldMk cId="3526693879" sldId="512"/>
        </pc:sldMkLst>
        <pc:spChg chg="mod">
          <ac:chgData name="Brian Vad Mathiesen" userId="8a78f856-4b15-4561-8b43-ae1e886d028a" providerId="ADAL" clId="{A9E77476-0330-43D5-BF27-7AEDF728582C}" dt="2022-05-17T11:39:22.886" v="6" actId="1076"/>
          <ac:spMkLst>
            <pc:docMk/>
            <pc:sldMk cId="3526693879" sldId="512"/>
            <ac:spMk id="2" creationId="{47588083-A85F-417C-ABD0-0D62B9FA04BD}"/>
          </ac:spMkLst>
        </pc:spChg>
        <pc:picChg chg="mod">
          <ac:chgData name="Brian Vad Mathiesen" userId="8a78f856-4b15-4561-8b43-ae1e886d028a" providerId="ADAL" clId="{A9E77476-0330-43D5-BF27-7AEDF728582C}" dt="2022-05-17T11:39:24.725" v="7" actId="1076"/>
          <ac:picMkLst>
            <pc:docMk/>
            <pc:sldMk cId="3526693879" sldId="512"/>
            <ac:picMk id="5" creationId="{701B5D3E-9497-4AB6-84AA-ABF5F843E6A5}"/>
          </ac:picMkLst>
        </pc:picChg>
      </pc:sldChg>
      <pc:sldChg chg="modSp add mod">
        <pc:chgData name="Brian Vad Mathiesen" userId="8a78f856-4b15-4561-8b43-ae1e886d028a" providerId="ADAL" clId="{A9E77476-0330-43D5-BF27-7AEDF728582C}" dt="2022-05-17T11:39:29.874" v="8" actId="1076"/>
        <pc:sldMkLst>
          <pc:docMk/>
          <pc:sldMk cId="408784601" sldId="513"/>
        </pc:sldMkLst>
        <pc:spChg chg="mod">
          <ac:chgData name="Brian Vad Mathiesen" userId="8a78f856-4b15-4561-8b43-ae1e886d028a" providerId="ADAL" clId="{A9E77476-0330-43D5-BF27-7AEDF728582C}" dt="2022-05-17T11:39:29.874" v="8" actId="1076"/>
          <ac:spMkLst>
            <pc:docMk/>
            <pc:sldMk cId="408784601" sldId="513"/>
            <ac:spMk id="2" creationId="{175092D6-A3C1-4CEC-A0E1-65D48C1EC6AF}"/>
          </ac:spMkLst>
        </pc:spChg>
      </pc:sldChg>
      <pc:sldChg chg="modSp add mod">
        <pc:chgData name="Brian Vad Mathiesen" userId="8a78f856-4b15-4561-8b43-ae1e886d028a" providerId="ADAL" clId="{A9E77476-0330-43D5-BF27-7AEDF728582C}" dt="2022-05-17T11:40:23.159" v="9" actId="1076"/>
        <pc:sldMkLst>
          <pc:docMk/>
          <pc:sldMk cId="1662066913" sldId="514"/>
        </pc:sldMkLst>
        <pc:spChg chg="mod">
          <ac:chgData name="Brian Vad Mathiesen" userId="8a78f856-4b15-4561-8b43-ae1e886d028a" providerId="ADAL" clId="{A9E77476-0330-43D5-BF27-7AEDF728582C}" dt="2022-05-17T11:40:23.159" v="9" actId="1076"/>
          <ac:spMkLst>
            <pc:docMk/>
            <pc:sldMk cId="1662066913" sldId="514"/>
            <ac:spMk id="2" creationId="{642E420D-FB72-4B18-B4B5-2F3782385AAB}"/>
          </ac:spMkLst>
        </pc:spChg>
      </pc:sldChg>
      <pc:sldChg chg="modSp add mod">
        <pc:chgData name="Brian Vad Mathiesen" userId="8a78f856-4b15-4561-8b43-ae1e886d028a" providerId="ADAL" clId="{A9E77476-0330-43D5-BF27-7AEDF728582C}" dt="2022-05-17T11:40:41.507" v="16" actId="1076"/>
        <pc:sldMkLst>
          <pc:docMk/>
          <pc:sldMk cId="606924861" sldId="515"/>
        </pc:sldMkLst>
        <pc:spChg chg="mod">
          <ac:chgData name="Brian Vad Mathiesen" userId="8a78f856-4b15-4561-8b43-ae1e886d028a" providerId="ADAL" clId="{A9E77476-0330-43D5-BF27-7AEDF728582C}" dt="2022-05-17T11:40:41.507" v="16" actId="1076"/>
          <ac:spMkLst>
            <pc:docMk/>
            <pc:sldMk cId="606924861" sldId="515"/>
            <ac:spMk id="2" creationId="{DE56646B-E344-439D-B85D-1732D7B064B8}"/>
          </ac:spMkLst>
        </pc:spChg>
        <pc:spChg chg="mod">
          <ac:chgData name="Brian Vad Mathiesen" userId="8a78f856-4b15-4561-8b43-ae1e886d028a" providerId="ADAL" clId="{A9E77476-0330-43D5-BF27-7AEDF728582C}" dt="2022-05-17T11:40:39.236" v="15" actId="1076"/>
          <ac:spMkLst>
            <pc:docMk/>
            <pc:sldMk cId="606924861" sldId="515"/>
            <ac:spMk id="6" creationId="{4B60E6AE-CC7C-4B2E-AB58-6240B05FDE2B}"/>
          </ac:spMkLst>
        </pc:spChg>
        <pc:picChg chg="mod">
          <ac:chgData name="Brian Vad Mathiesen" userId="8a78f856-4b15-4561-8b43-ae1e886d028a" providerId="ADAL" clId="{A9E77476-0330-43D5-BF27-7AEDF728582C}" dt="2022-05-17T11:40:34.741" v="14" actId="1076"/>
          <ac:picMkLst>
            <pc:docMk/>
            <pc:sldMk cId="606924861" sldId="515"/>
            <ac:picMk id="5" creationId="{58DE77EF-00D7-4F09-9B19-7B4565B7D92A}"/>
          </ac:picMkLst>
        </pc:picChg>
      </pc:sldChg>
      <pc:sldChg chg="ord">
        <pc:chgData name="Brian Vad Mathiesen" userId="8a78f856-4b15-4561-8b43-ae1e886d028a" providerId="ADAL" clId="{A9E77476-0330-43D5-BF27-7AEDF728582C}" dt="2022-05-17T11:27:49.841" v="3"/>
        <pc:sldMkLst>
          <pc:docMk/>
          <pc:sldMk cId="3196624902" sldId="518"/>
        </pc:sldMkLst>
      </pc:sldChg>
      <pc:sldChg chg="add">
        <pc:chgData name="Brian Vad Mathiesen" userId="8a78f856-4b15-4561-8b43-ae1e886d028a" providerId="ADAL" clId="{A9E77476-0330-43D5-BF27-7AEDF728582C}" dt="2022-05-17T11:39:16.806" v="5"/>
        <pc:sldMkLst>
          <pc:docMk/>
          <pc:sldMk cId="335251063" sldId="521"/>
        </pc:sldMkLst>
      </pc:sldChg>
      <pc:sldChg chg="modSp mod">
        <pc:chgData name="Brian Vad Mathiesen" userId="8a78f856-4b15-4561-8b43-ae1e886d028a" providerId="ADAL" clId="{A9E77476-0330-43D5-BF27-7AEDF728582C}" dt="2022-05-17T11:43:35.538" v="51" actId="20577"/>
        <pc:sldMkLst>
          <pc:docMk/>
          <pc:sldMk cId="209450135" sldId="533"/>
        </pc:sldMkLst>
        <pc:spChg chg="mod">
          <ac:chgData name="Brian Vad Mathiesen" userId="8a78f856-4b15-4561-8b43-ae1e886d028a" providerId="ADAL" clId="{A9E77476-0330-43D5-BF27-7AEDF728582C}" dt="2022-05-17T11:43:35.538" v="51" actId="20577"/>
          <ac:spMkLst>
            <pc:docMk/>
            <pc:sldMk cId="209450135" sldId="533"/>
            <ac:spMk id="2" creationId="{00000000-0000-0000-0000-000000000000}"/>
          </ac:spMkLst>
        </pc:spChg>
      </pc:sldChg>
      <pc:sldChg chg="add">
        <pc:chgData name="Brian Vad Mathiesen" userId="8a78f856-4b15-4561-8b43-ae1e886d028a" providerId="ADAL" clId="{A9E77476-0330-43D5-BF27-7AEDF728582C}" dt="2022-05-17T11:39:16.806" v="5"/>
        <pc:sldMkLst>
          <pc:docMk/>
          <pc:sldMk cId="3254981191" sldId="899"/>
        </pc:sldMkLst>
      </pc:sldChg>
      <pc:sldChg chg="add">
        <pc:chgData name="Brian Vad Mathiesen" userId="8a78f856-4b15-4561-8b43-ae1e886d028a" providerId="ADAL" clId="{A9E77476-0330-43D5-BF27-7AEDF728582C}" dt="2022-05-17T11:39:16.806" v="5"/>
        <pc:sldMkLst>
          <pc:docMk/>
          <pc:sldMk cId="1877252857" sldId="936"/>
        </pc:sldMkLst>
      </pc:sldChg>
      <pc:sldChg chg="add">
        <pc:chgData name="Brian Vad Mathiesen" userId="8a78f856-4b15-4561-8b43-ae1e886d028a" providerId="ADAL" clId="{A9E77476-0330-43D5-BF27-7AEDF728582C}" dt="2022-05-17T11:39:16.806" v="5"/>
        <pc:sldMkLst>
          <pc:docMk/>
          <pc:sldMk cId="4281100013" sldId="937"/>
        </pc:sldMkLst>
      </pc:sldChg>
      <pc:sldChg chg="add">
        <pc:chgData name="Brian Vad Mathiesen" userId="8a78f856-4b15-4561-8b43-ae1e886d028a" providerId="ADAL" clId="{A9E77476-0330-43D5-BF27-7AEDF728582C}" dt="2022-05-17T11:39:16.806" v="5"/>
        <pc:sldMkLst>
          <pc:docMk/>
          <pc:sldMk cId="3135106563" sldId="938"/>
        </pc:sldMkLst>
      </pc:sldChg>
    </pc:docChg>
  </pc:docChgLst>
  <pc:docChgLst>
    <pc:chgData name="Brian Vad Mathiesen" userId="8a78f856-4b15-4561-8b43-ae1e886d028a" providerId="ADAL" clId="{C28C5F6A-EC42-4D31-B902-557188BEE065}"/>
    <pc:docChg chg="undo custSel addSld delSld modSld sldOrd">
      <pc:chgData name="Brian Vad Mathiesen" userId="8a78f856-4b15-4561-8b43-ae1e886d028a" providerId="ADAL" clId="{C28C5F6A-EC42-4D31-B902-557188BEE065}" dt="2022-05-04T15:21:50.781" v="1183" actId="1076"/>
      <pc:docMkLst>
        <pc:docMk/>
      </pc:docMkLst>
      <pc:sldChg chg="add">
        <pc:chgData name="Brian Vad Mathiesen" userId="8a78f856-4b15-4561-8b43-ae1e886d028a" providerId="ADAL" clId="{C28C5F6A-EC42-4D31-B902-557188BEE065}" dt="2022-05-04T14:51:08.623" v="584"/>
        <pc:sldMkLst>
          <pc:docMk/>
          <pc:sldMk cId="644743255" sldId="266"/>
        </pc:sldMkLst>
      </pc:sldChg>
      <pc:sldChg chg="addSp modSp add del mod">
        <pc:chgData name="Brian Vad Mathiesen" userId="8a78f856-4b15-4561-8b43-ae1e886d028a" providerId="ADAL" clId="{C28C5F6A-EC42-4D31-B902-557188BEE065}" dt="2022-05-04T14:51:05.524" v="583" actId="2696"/>
        <pc:sldMkLst>
          <pc:docMk/>
          <pc:sldMk cId="2882178929" sldId="266"/>
        </pc:sldMkLst>
        <pc:spChg chg="mod">
          <ac:chgData name="Brian Vad Mathiesen" userId="8a78f856-4b15-4561-8b43-ae1e886d028a" providerId="ADAL" clId="{C28C5F6A-EC42-4D31-B902-557188BEE065}" dt="2022-05-04T14:50:19.470" v="571" actId="1076"/>
          <ac:spMkLst>
            <pc:docMk/>
            <pc:sldMk cId="2882178929" sldId="266"/>
            <ac:spMk id="2" creationId="{9635DCBF-C5EB-4604-8501-A2C8139E30C1}"/>
          </ac:spMkLst>
        </pc:spChg>
        <pc:spChg chg="add mod">
          <ac:chgData name="Brian Vad Mathiesen" userId="8a78f856-4b15-4561-8b43-ae1e886d028a" providerId="ADAL" clId="{C28C5F6A-EC42-4D31-B902-557188BEE065}" dt="2022-05-04T14:50:41.313" v="577" actId="1076"/>
          <ac:spMkLst>
            <pc:docMk/>
            <pc:sldMk cId="2882178929" sldId="266"/>
            <ac:spMk id="7" creationId="{6D47A61D-50D4-4B1A-9067-4E45A4ABA0E3}"/>
          </ac:spMkLst>
        </pc:spChg>
      </pc:sldChg>
      <pc:sldChg chg="del">
        <pc:chgData name="Brian Vad Mathiesen" userId="8a78f856-4b15-4561-8b43-ae1e886d028a" providerId="ADAL" clId="{C28C5F6A-EC42-4D31-B902-557188BEE065}" dt="2022-05-04T14:57:50.575" v="676" actId="47"/>
        <pc:sldMkLst>
          <pc:docMk/>
          <pc:sldMk cId="305331860" sldId="278"/>
        </pc:sldMkLst>
      </pc:sldChg>
      <pc:sldChg chg="del">
        <pc:chgData name="Brian Vad Mathiesen" userId="8a78f856-4b15-4561-8b43-ae1e886d028a" providerId="ADAL" clId="{C28C5F6A-EC42-4D31-B902-557188BEE065}" dt="2022-05-04T14:57:50.575" v="676" actId="47"/>
        <pc:sldMkLst>
          <pc:docMk/>
          <pc:sldMk cId="2685114996" sldId="279"/>
        </pc:sldMkLst>
      </pc:sldChg>
      <pc:sldChg chg="del">
        <pc:chgData name="Brian Vad Mathiesen" userId="8a78f856-4b15-4561-8b43-ae1e886d028a" providerId="ADAL" clId="{C28C5F6A-EC42-4D31-B902-557188BEE065}" dt="2022-05-04T14:57:50.575" v="676" actId="47"/>
        <pc:sldMkLst>
          <pc:docMk/>
          <pc:sldMk cId="16267319" sldId="280"/>
        </pc:sldMkLst>
      </pc:sldChg>
      <pc:sldChg chg="del">
        <pc:chgData name="Brian Vad Mathiesen" userId="8a78f856-4b15-4561-8b43-ae1e886d028a" providerId="ADAL" clId="{C28C5F6A-EC42-4D31-B902-557188BEE065}" dt="2022-05-04T14:58:02.748" v="678" actId="47"/>
        <pc:sldMkLst>
          <pc:docMk/>
          <pc:sldMk cId="878458134" sldId="282"/>
        </pc:sldMkLst>
      </pc:sldChg>
      <pc:sldChg chg="del">
        <pc:chgData name="Brian Vad Mathiesen" userId="8a78f856-4b15-4561-8b43-ae1e886d028a" providerId="ADAL" clId="{C28C5F6A-EC42-4D31-B902-557188BEE065}" dt="2022-05-04T14:57:58.202" v="677" actId="47"/>
        <pc:sldMkLst>
          <pc:docMk/>
          <pc:sldMk cId="986657495" sldId="284"/>
        </pc:sldMkLst>
      </pc:sldChg>
      <pc:sldChg chg="del">
        <pc:chgData name="Brian Vad Mathiesen" userId="8a78f856-4b15-4561-8b43-ae1e886d028a" providerId="ADAL" clId="{C28C5F6A-EC42-4D31-B902-557188BEE065}" dt="2022-05-04T15:06:06.929" v="943" actId="47"/>
        <pc:sldMkLst>
          <pc:docMk/>
          <pc:sldMk cId="295601232" sldId="327"/>
        </pc:sldMkLst>
      </pc:sldChg>
      <pc:sldChg chg="del">
        <pc:chgData name="Brian Vad Mathiesen" userId="8a78f856-4b15-4561-8b43-ae1e886d028a" providerId="ADAL" clId="{C28C5F6A-EC42-4D31-B902-557188BEE065}" dt="2022-05-04T15:06:11.718" v="944" actId="47"/>
        <pc:sldMkLst>
          <pc:docMk/>
          <pc:sldMk cId="1975431884" sldId="398"/>
        </pc:sldMkLst>
      </pc:sldChg>
      <pc:sldChg chg="addSp delSp modSp add del mod">
        <pc:chgData name="Brian Vad Mathiesen" userId="8a78f856-4b15-4561-8b43-ae1e886d028a" providerId="ADAL" clId="{C28C5F6A-EC42-4D31-B902-557188BEE065}" dt="2022-05-04T15:21:39.541" v="1182" actId="47"/>
        <pc:sldMkLst>
          <pc:docMk/>
          <pc:sldMk cId="2536793652" sldId="414"/>
        </pc:sldMkLst>
        <pc:spChg chg="del mod">
          <ac:chgData name="Brian Vad Mathiesen" userId="8a78f856-4b15-4561-8b43-ae1e886d028a" providerId="ADAL" clId="{C28C5F6A-EC42-4D31-B902-557188BEE065}" dt="2022-05-04T15:02:34.048" v="698" actId="478"/>
          <ac:spMkLst>
            <pc:docMk/>
            <pc:sldMk cId="2536793652" sldId="414"/>
            <ac:spMk id="2" creationId="{00000000-0000-0000-0000-000000000000}"/>
          </ac:spMkLst>
        </pc:spChg>
        <pc:spChg chg="del mod">
          <ac:chgData name="Brian Vad Mathiesen" userId="8a78f856-4b15-4561-8b43-ae1e886d028a" providerId="ADAL" clId="{C28C5F6A-EC42-4D31-B902-557188BEE065}" dt="2022-05-04T15:02:49.152" v="706" actId="478"/>
          <ac:spMkLst>
            <pc:docMk/>
            <pc:sldMk cId="2536793652" sldId="414"/>
            <ac:spMk id="4" creationId="{00000000-0000-0000-0000-000000000000}"/>
          </ac:spMkLst>
        </pc:spChg>
        <pc:spChg chg="del">
          <ac:chgData name="Brian Vad Mathiesen" userId="8a78f856-4b15-4561-8b43-ae1e886d028a" providerId="ADAL" clId="{C28C5F6A-EC42-4D31-B902-557188BEE065}" dt="2022-05-04T15:02:59.102" v="709" actId="478"/>
          <ac:spMkLst>
            <pc:docMk/>
            <pc:sldMk cId="2536793652" sldId="414"/>
            <ac:spMk id="6" creationId="{00000000-0000-0000-0000-000000000000}"/>
          </ac:spMkLst>
        </pc:spChg>
        <pc:spChg chg="add del mod">
          <ac:chgData name="Brian Vad Mathiesen" userId="8a78f856-4b15-4561-8b43-ae1e886d028a" providerId="ADAL" clId="{C28C5F6A-EC42-4D31-B902-557188BEE065}" dt="2022-05-04T15:02:37.212" v="699" actId="478"/>
          <ac:spMkLst>
            <pc:docMk/>
            <pc:sldMk cId="2536793652" sldId="414"/>
            <ac:spMk id="7" creationId="{C59544AC-918A-4860-99A7-EF00D578BA26}"/>
          </ac:spMkLst>
        </pc:spChg>
        <pc:spChg chg="del mod">
          <ac:chgData name="Brian Vad Mathiesen" userId="8a78f856-4b15-4561-8b43-ae1e886d028a" providerId="ADAL" clId="{C28C5F6A-EC42-4D31-B902-557188BEE065}" dt="2022-05-04T15:02:39.249" v="700" actId="478"/>
          <ac:spMkLst>
            <pc:docMk/>
            <pc:sldMk cId="2536793652" sldId="414"/>
            <ac:spMk id="8" creationId="{00000000-0000-0000-0000-000000000000}"/>
          </ac:spMkLst>
        </pc:spChg>
        <pc:spChg chg="add del mod">
          <ac:chgData name="Brian Vad Mathiesen" userId="8a78f856-4b15-4561-8b43-ae1e886d028a" providerId="ADAL" clId="{C28C5F6A-EC42-4D31-B902-557188BEE065}" dt="2022-05-04T15:02:56.990" v="708" actId="478"/>
          <ac:spMkLst>
            <pc:docMk/>
            <pc:sldMk cId="2536793652" sldId="414"/>
            <ac:spMk id="12" creationId="{73E60A3A-5986-4E22-A111-BF42570B86A3}"/>
          </ac:spMkLst>
        </pc:spChg>
        <pc:spChg chg="add del mod">
          <ac:chgData name="Brian Vad Mathiesen" userId="8a78f856-4b15-4561-8b43-ae1e886d028a" providerId="ADAL" clId="{C28C5F6A-EC42-4D31-B902-557188BEE065}" dt="2022-05-04T15:03:01.317" v="710" actId="478"/>
          <ac:spMkLst>
            <pc:docMk/>
            <pc:sldMk cId="2536793652" sldId="414"/>
            <ac:spMk id="14" creationId="{D58301AE-E26C-46DB-9AFE-816DC8016A40}"/>
          </ac:spMkLst>
        </pc:spChg>
        <pc:picChg chg="del mod">
          <ac:chgData name="Brian Vad Mathiesen" userId="8a78f856-4b15-4561-8b43-ae1e886d028a" providerId="ADAL" clId="{C28C5F6A-EC42-4D31-B902-557188BEE065}" dt="2022-05-04T15:21:05.926" v="1170" actId="21"/>
          <ac:picMkLst>
            <pc:docMk/>
            <pc:sldMk cId="2536793652" sldId="414"/>
            <ac:picMk id="10" creationId="{00000000-0000-0000-0000-000000000000}"/>
          </ac:picMkLst>
        </pc:picChg>
        <pc:picChg chg="mod">
          <ac:chgData name="Brian Vad Mathiesen" userId="8a78f856-4b15-4561-8b43-ae1e886d028a" providerId="ADAL" clId="{C28C5F6A-EC42-4D31-B902-557188BEE065}" dt="2022-05-04T15:02:51.035" v="707" actId="1076"/>
          <ac:picMkLst>
            <pc:docMk/>
            <pc:sldMk cId="2536793652" sldId="414"/>
            <ac:picMk id="11" creationId="{00000000-0000-0000-0000-000000000000}"/>
          </ac:picMkLst>
        </pc:picChg>
        <pc:picChg chg="add mod">
          <ac:chgData name="Brian Vad Mathiesen" userId="8a78f856-4b15-4561-8b43-ae1e886d028a" providerId="ADAL" clId="{C28C5F6A-EC42-4D31-B902-557188BEE065}" dt="2022-05-04T15:13:20.465" v="1065"/>
          <ac:picMkLst>
            <pc:docMk/>
            <pc:sldMk cId="2536793652" sldId="414"/>
            <ac:picMk id="15" creationId="{64ABBB29-A3D9-414F-AC1D-6132340C1B0F}"/>
          </ac:picMkLst>
        </pc:picChg>
      </pc:sldChg>
      <pc:sldChg chg="ord">
        <pc:chgData name="Brian Vad Mathiesen" userId="8a78f856-4b15-4561-8b43-ae1e886d028a" providerId="ADAL" clId="{C28C5F6A-EC42-4D31-B902-557188BEE065}" dt="2022-05-04T14:56:18.691" v="649"/>
        <pc:sldMkLst>
          <pc:docMk/>
          <pc:sldMk cId="199572027" sldId="459"/>
        </pc:sldMkLst>
      </pc:sldChg>
      <pc:sldChg chg="addSp delSp modSp add del mod">
        <pc:chgData name="Brian Vad Mathiesen" userId="8a78f856-4b15-4561-8b43-ae1e886d028a" providerId="ADAL" clId="{C28C5F6A-EC42-4D31-B902-557188BEE065}" dt="2022-05-04T14:51:05.524" v="583" actId="2696"/>
        <pc:sldMkLst>
          <pc:docMk/>
          <pc:sldMk cId="1932295629" sldId="488"/>
        </pc:sldMkLst>
        <pc:spChg chg="add del mod">
          <ac:chgData name="Brian Vad Mathiesen" userId="8a78f856-4b15-4561-8b43-ae1e886d028a" providerId="ADAL" clId="{C28C5F6A-EC42-4D31-B902-557188BEE065}" dt="2022-05-04T14:00:26.140" v="303" actId="21"/>
          <ac:spMkLst>
            <pc:docMk/>
            <pc:sldMk cId="1932295629" sldId="488"/>
            <ac:spMk id="21" creationId="{0E4670FD-37A2-4AFB-BC45-131B5B4D5E7D}"/>
          </ac:spMkLst>
        </pc:spChg>
        <pc:spChg chg="mod">
          <ac:chgData name="Brian Vad Mathiesen" userId="8a78f856-4b15-4561-8b43-ae1e886d028a" providerId="ADAL" clId="{C28C5F6A-EC42-4D31-B902-557188BEE065}" dt="2022-05-04T13:57:20.718" v="194" actId="20577"/>
          <ac:spMkLst>
            <pc:docMk/>
            <pc:sldMk cId="1932295629" sldId="488"/>
            <ac:spMk id="4098" creationId="{00000000-0000-0000-0000-000000000000}"/>
          </ac:spMkLst>
        </pc:spChg>
        <pc:spChg chg="mod">
          <ac:chgData name="Brian Vad Mathiesen" userId="8a78f856-4b15-4561-8b43-ae1e886d028a" providerId="ADAL" clId="{C28C5F6A-EC42-4D31-B902-557188BEE065}" dt="2022-05-04T14:50:57.922" v="582" actId="5793"/>
          <ac:spMkLst>
            <pc:docMk/>
            <pc:sldMk cId="1932295629" sldId="488"/>
            <ac:spMk id="4110" creationId="{00000000-0000-0000-0000-000000000000}"/>
          </ac:spMkLst>
        </pc:spChg>
      </pc:sldChg>
      <pc:sldChg chg="add">
        <pc:chgData name="Brian Vad Mathiesen" userId="8a78f856-4b15-4561-8b43-ae1e886d028a" providerId="ADAL" clId="{C28C5F6A-EC42-4D31-B902-557188BEE065}" dt="2022-05-04T14:51:08.623" v="584"/>
        <pc:sldMkLst>
          <pc:docMk/>
          <pc:sldMk cId="2335886136" sldId="488"/>
        </pc:sldMkLst>
      </pc:sldChg>
      <pc:sldChg chg="del">
        <pc:chgData name="Brian Vad Mathiesen" userId="8a78f856-4b15-4561-8b43-ae1e886d028a" providerId="ADAL" clId="{C28C5F6A-EC42-4D31-B902-557188BEE065}" dt="2022-05-04T15:10:08.430" v="1017" actId="47"/>
        <pc:sldMkLst>
          <pc:docMk/>
          <pc:sldMk cId="3307191333" sldId="497"/>
        </pc:sldMkLst>
      </pc:sldChg>
      <pc:sldChg chg="add ord">
        <pc:chgData name="Brian Vad Mathiesen" userId="8a78f856-4b15-4561-8b43-ae1e886d028a" providerId="ADAL" clId="{C28C5F6A-EC42-4D31-B902-557188BEE065}" dt="2022-05-04T15:10:26.696" v="1019"/>
        <pc:sldMkLst>
          <pc:docMk/>
          <pc:sldMk cId="55333115" sldId="502"/>
        </pc:sldMkLst>
      </pc:sldChg>
      <pc:sldChg chg="del">
        <pc:chgData name="Brian Vad Mathiesen" userId="8a78f856-4b15-4561-8b43-ae1e886d028a" providerId="ADAL" clId="{C28C5F6A-EC42-4D31-B902-557188BEE065}" dt="2022-05-04T15:06:44.981" v="952" actId="2696"/>
        <pc:sldMkLst>
          <pc:docMk/>
          <pc:sldMk cId="671417584" sldId="502"/>
        </pc:sldMkLst>
      </pc:sldChg>
      <pc:sldChg chg="del">
        <pc:chgData name="Brian Vad Mathiesen" userId="8a78f856-4b15-4561-8b43-ae1e886d028a" providerId="ADAL" clId="{C28C5F6A-EC42-4D31-B902-557188BEE065}" dt="2022-05-04T15:07:22.096" v="959" actId="47"/>
        <pc:sldMkLst>
          <pc:docMk/>
          <pc:sldMk cId="4152306487" sldId="506"/>
        </pc:sldMkLst>
      </pc:sldChg>
      <pc:sldChg chg="modSp mod ord">
        <pc:chgData name="Brian Vad Mathiesen" userId="8a78f856-4b15-4561-8b43-ae1e886d028a" providerId="ADAL" clId="{C28C5F6A-EC42-4D31-B902-557188BEE065}" dt="2022-05-04T15:19:53.870" v="1167" actId="1076"/>
        <pc:sldMkLst>
          <pc:docMk/>
          <pc:sldMk cId="243807140" sldId="507"/>
        </pc:sldMkLst>
        <pc:spChg chg="mod">
          <ac:chgData name="Brian Vad Mathiesen" userId="8a78f856-4b15-4561-8b43-ae1e886d028a" providerId="ADAL" clId="{C28C5F6A-EC42-4D31-B902-557188BEE065}" dt="2022-05-04T15:19:44.079" v="1162" actId="1076"/>
          <ac:spMkLst>
            <pc:docMk/>
            <pc:sldMk cId="243807140" sldId="507"/>
            <ac:spMk id="2" creationId="{00000000-0000-0000-0000-000000000000}"/>
          </ac:spMkLst>
        </pc:spChg>
        <pc:picChg chg="mod">
          <ac:chgData name="Brian Vad Mathiesen" userId="8a78f856-4b15-4561-8b43-ae1e886d028a" providerId="ADAL" clId="{C28C5F6A-EC42-4D31-B902-557188BEE065}" dt="2022-05-04T15:19:41.524" v="1161" actId="1076"/>
          <ac:picMkLst>
            <pc:docMk/>
            <pc:sldMk cId="243807140" sldId="507"/>
            <ac:picMk id="5" creationId="{00000000-0000-0000-0000-000000000000}"/>
          </ac:picMkLst>
        </pc:picChg>
        <pc:picChg chg="mod">
          <ac:chgData name="Brian Vad Mathiesen" userId="8a78f856-4b15-4561-8b43-ae1e886d028a" providerId="ADAL" clId="{C28C5F6A-EC42-4D31-B902-557188BEE065}" dt="2022-05-04T15:19:53.870" v="1167" actId="1076"/>
          <ac:picMkLst>
            <pc:docMk/>
            <pc:sldMk cId="243807140" sldId="507"/>
            <ac:picMk id="7" creationId="{D332A210-5F94-4CC3-8ECE-85993209F97F}"/>
          </ac:picMkLst>
        </pc:picChg>
      </pc:sldChg>
      <pc:sldChg chg="del">
        <pc:chgData name="Brian Vad Mathiesen" userId="8a78f856-4b15-4561-8b43-ae1e886d028a" providerId="ADAL" clId="{C28C5F6A-EC42-4D31-B902-557188BEE065}" dt="2022-05-04T15:07:03.295" v="954" actId="47"/>
        <pc:sldMkLst>
          <pc:docMk/>
          <pc:sldMk cId="3248724521" sldId="508"/>
        </pc:sldMkLst>
      </pc:sldChg>
      <pc:sldChg chg="del">
        <pc:chgData name="Brian Vad Mathiesen" userId="8a78f856-4b15-4561-8b43-ae1e886d028a" providerId="ADAL" clId="{C28C5F6A-EC42-4D31-B902-557188BEE065}" dt="2022-05-04T15:08:10.759" v="973" actId="47"/>
        <pc:sldMkLst>
          <pc:docMk/>
          <pc:sldMk cId="3526693879" sldId="512"/>
        </pc:sldMkLst>
      </pc:sldChg>
      <pc:sldChg chg="del">
        <pc:chgData name="Brian Vad Mathiesen" userId="8a78f856-4b15-4561-8b43-ae1e886d028a" providerId="ADAL" clId="{C28C5F6A-EC42-4D31-B902-557188BEE065}" dt="2022-05-04T15:08:08.834" v="972" actId="47"/>
        <pc:sldMkLst>
          <pc:docMk/>
          <pc:sldMk cId="408784601" sldId="513"/>
        </pc:sldMkLst>
      </pc:sldChg>
      <pc:sldChg chg="modSp del mod">
        <pc:chgData name="Brian Vad Mathiesen" userId="8a78f856-4b15-4561-8b43-ae1e886d028a" providerId="ADAL" clId="{C28C5F6A-EC42-4D31-B902-557188BEE065}" dt="2022-05-04T15:08:05.165" v="970" actId="47"/>
        <pc:sldMkLst>
          <pc:docMk/>
          <pc:sldMk cId="1662066913" sldId="514"/>
        </pc:sldMkLst>
        <pc:spChg chg="mod">
          <ac:chgData name="Brian Vad Mathiesen" userId="8a78f856-4b15-4561-8b43-ae1e886d028a" providerId="ADAL" clId="{C28C5F6A-EC42-4D31-B902-557188BEE065}" dt="2022-05-04T14:47:58.163" v="555" actId="1076"/>
          <ac:spMkLst>
            <pc:docMk/>
            <pc:sldMk cId="1662066913" sldId="514"/>
            <ac:spMk id="2" creationId="{642E420D-FB72-4B18-B4B5-2F3782385AAB}"/>
          </ac:spMkLst>
        </pc:spChg>
        <pc:picChg chg="mod">
          <ac:chgData name="Brian Vad Mathiesen" userId="8a78f856-4b15-4561-8b43-ae1e886d028a" providerId="ADAL" clId="{C28C5F6A-EC42-4D31-B902-557188BEE065}" dt="2022-05-04T14:48:00.993" v="556" actId="1076"/>
          <ac:picMkLst>
            <pc:docMk/>
            <pc:sldMk cId="1662066913" sldId="514"/>
            <ac:picMk id="4" creationId="{D953AAFB-6F9C-4E19-B550-3B6BA7A62B45}"/>
          </ac:picMkLst>
        </pc:picChg>
        <pc:picChg chg="mod">
          <ac:chgData name="Brian Vad Mathiesen" userId="8a78f856-4b15-4561-8b43-ae1e886d028a" providerId="ADAL" clId="{C28C5F6A-EC42-4D31-B902-557188BEE065}" dt="2022-05-04T14:48:02.371" v="557" actId="1076"/>
          <ac:picMkLst>
            <pc:docMk/>
            <pc:sldMk cId="1662066913" sldId="514"/>
            <ac:picMk id="5" creationId="{00DC2905-AE35-4131-BCA7-256F5C0ED00B}"/>
          </ac:picMkLst>
        </pc:picChg>
      </pc:sldChg>
      <pc:sldChg chg="del">
        <pc:chgData name="Brian Vad Mathiesen" userId="8a78f856-4b15-4561-8b43-ae1e886d028a" providerId="ADAL" clId="{C28C5F6A-EC42-4D31-B902-557188BEE065}" dt="2022-05-04T15:08:06.750" v="971" actId="47"/>
        <pc:sldMkLst>
          <pc:docMk/>
          <pc:sldMk cId="606924861" sldId="515"/>
        </pc:sldMkLst>
      </pc:sldChg>
      <pc:sldChg chg="ord">
        <pc:chgData name="Brian Vad Mathiesen" userId="8a78f856-4b15-4561-8b43-ae1e886d028a" providerId="ADAL" clId="{C28C5F6A-EC42-4D31-B902-557188BEE065}" dt="2022-05-04T15:10:26.696" v="1019"/>
        <pc:sldMkLst>
          <pc:docMk/>
          <pc:sldMk cId="2479096814" sldId="516"/>
        </pc:sldMkLst>
      </pc:sldChg>
      <pc:sldChg chg="delSp modSp add mod">
        <pc:chgData name="Brian Vad Mathiesen" userId="8a78f856-4b15-4561-8b43-ae1e886d028a" providerId="ADAL" clId="{C28C5F6A-EC42-4D31-B902-557188BEE065}" dt="2022-05-04T15:12:36.749" v="1063" actId="1076"/>
        <pc:sldMkLst>
          <pc:docMk/>
          <pc:sldMk cId="4163737006" sldId="517"/>
        </pc:sldMkLst>
        <pc:spChg chg="mod">
          <ac:chgData name="Brian Vad Mathiesen" userId="8a78f856-4b15-4561-8b43-ae1e886d028a" providerId="ADAL" clId="{C28C5F6A-EC42-4D31-B902-557188BEE065}" dt="2022-05-04T15:12:26.273" v="1059" actId="20577"/>
          <ac:spMkLst>
            <pc:docMk/>
            <pc:sldMk cId="4163737006" sldId="517"/>
            <ac:spMk id="3" creationId="{00000000-0000-0000-0000-000000000000}"/>
          </ac:spMkLst>
        </pc:spChg>
        <pc:spChg chg="del">
          <ac:chgData name="Brian Vad Mathiesen" userId="8a78f856-4b15-4561-8b43-ae1e886d028a" providerId="ADAL" clId="{C28C5F6A-EC42-4D31-B902-557188BEE065}" dt="2022-05-04T15:12:31.850" v="1060" actId="478"/>
          <ac:spMkLst>
            <pc:docMk/>
            <pc:sldMk cId="4163737006" sldId="517"/>
            <ac:spMk id="6" creationId="{00000000-0000-0000-0000-000000000000}"/>
          </ac:spMkLst>
        </pc:spChg>
        <pc:picChg chg="mod">
          <ac:chgData name="Brian Vad Mathiesen" userId="8a78f856-4b15-4561-8b43-ae1e886d028a" providerId="ADAL" clId="{C28C5F6A-EC42-4D31-B902-557188BEE065}" dt="2022-05-04T15:12:36.749" v="1063" actId="1076"/>
          <ac:picMkLst>
            <pc:docMk/>
            <pc:sldMk cId="4163737006" sldId="517"/>
            <ac:picMk id="5" creationId="{00000000-0000-0000-0000-000000000000}"/>
          </ac:picMkLst>
        </pc:picChg>
      </pc:sldChg>
      <pc:sldChg chg="add del">
        <pc:chgData name="Brian Vad Mathiesen" userId="8a78f856-4b15-4561-8b43-ae1e886d028a" providerId="ADAL" clId="{C28C5F6A-EC42-4D31-B902-557188BEE065}" dt="2022-05-04T15:14:42.744" v="1099" actId="2696"/>
        <pc:sldMkLst>
          <pc:docMk/>
          <pc:sldMk cId="1246470352" sldId="518"/>
        </pc:sldMkLst>
      </pc:sldChg>
      <pc:sldChg chg="add">
        <pc:chgData name="Brian Vad Mathiesen" userId="8a78f856-4b15-4561-8b43-ae1e886d028a" providerId="ADAL" clId="{C28C5F6A-EC42-4D31-B902-557188BEE065}" dt="2022-05-04T15:14:51.013" v="1100"/>
        <pc:sldMkLst>
          <pc:docMk/>
          <pc:sldMk cId="3196624902" sldId="518"/>
        </pc:sldMkLst>
      </pc:sldChg>
      <pc:sldChg chg="del">
        <pc:chgData name="Brian Vad Mathiesen" userId="8a78f856-4b15-4561-8b43-ae1e886d028a" providerId="ADAL" clId="{C28C5F6A-EC42-4D31-B902-557188BEE065}" dt="2022-05-04T15:08:13.508" v="974" actId="47"/>
        <pc:sldMkLst>
          <pc:docMk/>
          <pc:sldMk cId="4281100013" sldId="518"/>
        </pc:sldMkLst>
      </pc:sldChg>
      <pc:sldChg chg="addSp delSp modSp add mod">
        <pc:chgData name="Brian Vad Mathiesen" userId="8a78f856-4b15-4561-8b43-ae1e886d028a" providerId="ADAL" clId="{C28C5F6A-EC42-4D31-B902-557188BEE065}" dt="2022-05-04T15:14:19.033" v="1097" actId="1076"/>
        <pc:sldMkLst>
          <pc:docMk/>
          <pc:sldMk cId="2622485187" sldId="519"/>
        </pc:sldMkLst>
        <pc:spChg chg="mod">
          <ac:chgData name="Brian Vad Mathiesen" userId="8a78f856-4b15-4561-8b43-ae1e886d028a" providerId="ADAL" clId="{C28C5F6A-EC42-4D31-B902-557188BEE065}" dt="2022-05-04T15:13:34.897" v="1092" actId="20577"/>
          <ac:spMkLst>
            <pc:docMk/>
            <pc:sldMk cId="2622485187" sldId="519"/>
            <ac:spMk id="3" creationId="{00000000-0000-0000-0000-000000000000}"/>
          </ac:spMkLst>
        </pc:spChg>
        <pc:spChg chg="del">
          <ac:chgData name="Brian Vad Mathiesen" userId="8a78f856-4b15-4561-8b43-ae1e886d028a" providerId="ADAL" clId="{C28C5F6A-EC42-4D31-B902-557188BEE065}" dt="2022-05-04T15:14:11.517" v="1093" actId="478"/>
          <ac:spMkLst>
            <pc:docMk/>
            <pc:sldMk cId="2622485187" sldId="519"/>
            <ac:spMk id="6" creationId="{00000000-0000-0000-0000-000000000000}"/>
          </ac:spMkLst>
        </pc:spChg>
        <pc:picChg chg="add mod">
          <ac:chgData name="Brian Vad Mathiesen" userId="8a78f856-4b15-4561-8b43-ae1e886d028a" providerId="ADAL" clId="{C28C5F6A-EC42-4D31-B902-557188BEE065}" dt="2022-05-04T15:13:23.026" v="1067"/>
          <ac:picMkLst>
            <pc:docMk/>
            <pc:sldMk cId="2622485187" sldId="519"/>
            <ac:picMk id="7" creationId="{B4EA19C9-45C1-4C7F-8F7E-E15F16254579}"/>
          </ac:picMkLst>
        </pc:picChg>
        <pc:picChg chg="mod">
          <ac:chgData name="Brian Vad Mathiesen" userId="8a78f856-4b15-4561-8b43-ae1e886d028a" providerId="ADAL" clId="{C28C5F6A-EC42-4D31-B902-557188BEE065}" dt="2022-05-04T15:14:19.033" v="1097" actId="1076"/>
          <ac:picMkLst>
            <pc:docMk/>
            <pc:sldMk cId="2622485187" sldId="519"/>
            <ac:picMk id="9" creationId="{78B6A886-109C-4277-99F3-95CEA47CE667}"/>
          </ac:picMkLst>
        </pc:picChg>
      </pc:sldChg>
      <pc:sldChg chg="del">
        <pc:chgData name="Brian Vad Mathiesen" userId="8a78f856-4b15-4561-8b43-ae1e886d028a" providerId="ADAL" clId="{C28C5F6A-EC42-4D31-B902-557188BEE065}" dt="2022-05-04T15:07:41.964" v="964" actId="47"/>
        <pc:sldMkLst>
          <pc:docMk/>
          <pc:sldMk cId="3135106563" sldId="519"/>
        </pc:sldMkLst>
      </pc:sldChg>
      <pc:sldChg chg="del ord">
        <pc:chgData name="Brian Vad Mathiesen" userId="8a78f856-4b15-4561-8b43-ae1e886d028a" providerId="ADAL" clId="{C28C5F6A-EC42-4D31-B902-557188BEE065}" dt="2022-05-04T15:10:56.482" v="1026" actId="47"/>
        <pc:sldMkLst>
          <pc:docMk/>
          <pc:sldMk cId="335251063" sldId="521"/>
        </pc:sldMkLst>
      </pc:sldChg>
      <pc:sldChg chg="modSp add del mod">
        <pc:chgData name="Brian Vad Mathiesen" userId="8a78f856-4b15-4561-8b43-ae1e886d028a" providerId="ADAL" clId="{C28C5F6A-EC42-4D31-B902-557188BEE065}" dt="2022-05-04T15:14:42.744" v="1099" actId="2696"/>
        <pc:sldMkLst>
          <pc:docMk/>
          <pc:sldMk cId="3382923135" sldId="522"/>
        </pc:sldMkLst>
        <pc:spChg chg="mod">
          <ac:chgData name="Brian Vad Mathiesen" userId="8a78f856-4b15-4561-8b43-ae1e886d028a" providerId="ADAL" clId="{C28C5F6A-EC42-4D31-B902-557188BEE065}" dt="2022-05-04T15:14:33.187" v="1098" actId="1076"/>
          <ac:spMkLst>
            <pc:docMk/>
            <pc:sldMk cId="3382923135" sldId="522"/>
            <ac:spMk id="3" creationId="{00000000-0000-0000-0000-000000000000}"/>
          </ac:spMkLst>
        </pc:spChg>
      </pc:sldChg>
      <pc:sldChg chg="add">
        <pc:chgData name="Brian Vad Mathiesen" userId="8a78f856-4b15-4561-8b43-ae1e886d028a" providerId="ADAL" clId="{C28C5F6A-EC42-4D31-B902-557188BEE065}" dt="2022-05-04T15:14:51.013" v="1100"/>
        <pc:sldMkLst>
          <pc:docMk/>
          <pc:sldMk cId="3497964709" sldId="522"/>
        </pc:sldMkLst>
      </pc:sldChg>
      <pc:sldChg chg="modSp mod">
        <pc:chgData name="Brian Vad Mathiesen" userId="8a78f856-4b15-4561-8b43-ae1e886d028a" providerId="ADAL" clId="{C28C5F6A-EC42-4D31-B902-557188BEE065}" dt="2022-05-04T13:22:45.198" v="101" actId="20577"/>
        <pc:sldMkLst>
          <pc:docMk/>
          <pc:sldMk cId="209450135" sldId="533"/>
        </pc:sldMkLst>
        <pc:spChg chg="mod">
          <ac:chgData name="Brian Vad Mathiesen" userId="8a78f856-4b15-4561-8b43-ae1e886d028a" providerId="ADAL" clId="{C28C5F6A-EC42-4D31-B902-557188BEE065}" dt="2022-05-04T13:22:45.198" v="101" actId="20577"/>
          <ac:spMkLst>
            <pc:docMk/>
            <pc:sldMk cId="209450135" sldId="533"/>
            <ac:spMk id="2" creationId="{00000000-0000-0000-0000-000000000000}"/>
          </ac:spMkLst>
        </pc:spChg>
      </pc:sldChg>
      <pc:sldChg chg="modSp mod ord">
        <pc:chgData name="Brian Vad Mathiesen" userId="8a78f856-4b15-4561-8b43-ae1e886d028a" providerId="ADAL" clId="{C28C5F6A-EC42-4D31-B902-557188BEE065}" dt="2022-05-04T15:20:35.551" v="1169"/>
        <pc:sldMkLst>
          <pc:docMk/>
          <pc:sldMk cId="937752979" sldId="552"/>
        </pc:sldMkLst>
        <pc:spChg chg="mod">
          <ac:chgData name="Brian Vad Mathiesen" userId="8a78f856-4b15-4561-8b43-ae1e886d028a" providerId="ADAL" clId="{C28C5F6A-EC42-4D31-B902-557188BEE065}" dt="2022-05-04T14:55:19.875" v="638" actId="1076"/>
          <ac:spMkLst>
            <pc:docMk/>
            <pc:sldMk cId="937752979" sldId="552"/>
            <ac:spMk id="5" creationId="{00000000-0000-0000-0000-000000000000}"/>
          </ac:spMkLst>
        </pc:spChg>
      </pc:sldChg>
      <pc:sldChg chg="del">
        <pc:chgData name="Brian Vad Mathiesen" userId="8a78f856-4b15-4561-8b43-ae1e886d028a" providerId="ADAL" clId="{C28C5F6A-EC42-4D31-B902-557188BEE065}" dt="2022-05-04T14:56:09.422" v="645" actId="47"/>
        <pc:sldMkLst>
          <pc:docMk/>
          <pc:sldMk cId="3979876766" sldId="553"/>
        </pc:sldMkLst>
      </pc:sldChg>
      <pc:sldChg chg="del">
        <pc:chgData name="Brian Vad Mathiesen" userId="8a78f856-4b15-4561-8b43-ae1e886d028a" providerId="ADAL" clId="{C28C5F6A-EC42-4D31-B902-557188BEE065}" dt="2022-05-04T14:57:43.411" v="674" actId="47"/>
        <pc:sldMkLst>
          <pc:docMk/>
          <pc:sldMk cId="1815491380" sldId="560"/>
        </pc:sldMkLst>
      </pc:sldChg>
      <pc:sldChg chg="ord">
        <pc:chgData name="Brian Vad Mathiesen" userId="8a78f856-4b15-4561-8b43-ae1e886d028a" providerId="ADAL" clId="{C28C5F6A-EC42-4D31-B902-557188BEE065}" dt="2022-05-04T15:08:01.836" v="969"/>
        <pc:sldMkLst>
          <pc:docMk/>
          <pc:sldMk cId="333959322" sldId="563"/>
        </pc:sldMkLst>
      </pc:sldChg>
      <pc:sldChg chg="ord">
        <pc:chgData name="Brian Vad Mathiesen" userId="8a78f856-4b15-4561-8b43-ae1e886d028a" providerId="ADAL" clId="{C28C5F6A-EC42-4D31-B902-557188BEE065}" dt="2022-05-04T15:08:01.836" v="969"/>
        <pc:sldMkLst>
          <pc:docMk/>
          <pc:sldMk cId="2841004827" sldId="564"/>
        </pc:sldMkLst>
      </pc:sldChg>
      <pc:sldChg chg="ord">
        <pc:chgData name="Brian Vad Mathiesen" userId="8a78f856-4b15-4561-8b43-ae1e886d028a" providerId="ADAL" clId="{C28C5F6A-EC42-4D31-B902-557188BEE065}" dt="2022-05-04T15:08:01.836" v="969"/>
        <pc:sldMkLst>
          <pc:docMk/>
          <pc:sldMk cId="1823315926" sldId="565"/>
        </pc:sldMkLst>
      </pc:sldChg>
      <pc:sldChg chg="modSp add mod">
        <pc:chgData name="Brian Vad Mathiesen" userId="8a78f856-4b15-4561-8b43-ae1e886d028a" providerId="ADAL" clId="{C28C5F6A-EC42-4D31-B902-557188BEE065}" dt="2022-05-04T13:37:06.900" v="133" actId="404"/>
        <pc:sldMkLst>
          <pc:docMk/>
          <pc:sldMk cId="804067588" sldId="569"/>
        </pc:sldMkLst>
        <pc:spChg chg="mod">
          <ac:chgData name="Brian Vad Mathiesen" userId="8a78f856-4b15-4561-8b43-ae1e886d028a" providerId="ADAL" clId="{C28C5F6A-EC42-4D31-B902-557188BEE065}" dt="2022-05-04T13:37:06.900" v="133" actId="404"/>
          <ac:spMkLst>
            <pc:docMk/>
            <pc:sldMk cId="804067588" sldId="569"/>
            <ac:spMk id="10" creationId="{00000000-0000-0000-0000-000000000000}"/>
          </ac:spMkLst>
        </pc:spChg>
        <pc:picChg chg="mod">
          <ac:chgData name="Brian Vad Mathiesen" userId="8a78f856-4b15-4561-8b43-ae1e886d028a" providerId="ADAL" clId="{C28C5F6A-EC42-4D31-B902-557188BEE065}" dt="2022-05-04T13:37:02.143" v="131" actId="1076"/>
          <ac:picMkLst>
            <pc:docMk/>
            <pc:sldMk cId="804067588" sldId="569"/>
            <ac:picMk id="2" creationId="{16192828-12DA-4A57-BDB9-58648E3437BE}"/>
          </ac:picMkLst>
        </pc:picChg>
      </pc:sldChg>
      <pc:sldChg chg="delSp add del mod delAnim">
        <pc:chgData name="Brian Vad Mathiesen" userId="8a78f856-4b15-4561-8b43-ae1e886d028a" providerId="ADAL" clId="{C28C5F6A-EC42-4D31-B902-557188BEE065}" dt="2022-05-04T13:37:25.274" v="134" actId="47"/>
        <pc:sldMkLst>
          <pc:docMk/>
          <pc:sldMk cId="2934153846" sldId="570"/>
        </pc:sldMkLst>
        <pc:graphicFrameChg chg="del">
          <ac:chgData name="Brian Vad Mathiesen" userId="8a78f856-4b15-4561-8b43-ae1e886d028a" providerId="ADAL" clId="{C28C5F6A-EC42-4D31-B902-557188BEE065}" dt="2022-05-04T13:36:48.228" v="127" actId="21"/>
          <ac:graphicFrameMkLst>
            <pc:docMk/>
            <pc:sldMk cId="2934153846" sldId="570"/>
            <ac:graphicFrameMk id="8" creationId="{00000000-0000-0000-0000-000000000000}"/>
          </ac:graphicFrameMkLst>
        </pc:graphicFrameChg>
        <pc:graphicFrameChg chg="del">
          <ac:chgData name="Brian Vad Mathiesen" userId="8a78f856-4b15-4561-8b43-ae1e886d028a" providerId="ADAL" clId="{C28C5F6A-EC42-4D31-B902-557188BEE065}" dt="2022-05-04T13:36:45.548" v="126" actId="21"/>
          <ac:graphicFrameMkLst>
            <pc:docMk/>
            <pc:sldMk cId="2934153846" sldId="570"/>
            <ac:graphicFrameMk id="9" creationId="{00000000-0000-0000-0000-000000000000}"/>
          </ac:graphicFrameMkLst>
        </pc:graphicFrameChg>
      </pc:sldChg>
      <pc:sldChg chg="del">
        <pc:chgData name="Brian Vad Mathiesen" userId="8a78f856-4b15-4561-8b43-ae1e886d028a" providerId="ADAL" clId="{C28C5F6A-EC42-4D31-B902-557188BEE065}" dt="2022-05-04T15:06:02.866" v="941" actId="47"/>
        <pc:sldMkLst>
          <pc:docMk/>
          <pc:sldMk cId="2251508614" sldId="574"/>
        </pc:sldMkLst>
      </pc:sldChg>
      <pc:sldChg chg="add">
        <pc:chgData name="Brian Vad Mathiesen" userId="8a78f856-4b15-4561-8b43-ae1e886d028a" providerId="ADAL" clId="{C28C5F6A-EC42-4D31-B902-557188BEE065}" dt="2022-05-04T14:49:42.119" v="567"/>
        <pc:sldMkLst>
          <pc:docMk/>
          <pc:sldMk cId="286649259" sldId="594"/>
        </pc:sldMkLst>
      </pc:sldChg>
      <pc:sldChg chg="addSp delSp modSp add del mod">
        <pc:chgData name="Brian Vad Mathiesen" userId="8a78f856-4b15-4561-8b43-ae1e886d028a" providerId="ADAL" clId="{C28C5F6A-EC42-4D31-B902-557188BEE065}" dt="2022-05-04T14:49:36.756" v="566" actId="2696"/>
        <pc:sldMkLst>
          <pc:docMk/>
          <pc:sldMk cId="599005645" sldId="594"/>
        </pc:sldMkLst>
        <pc:picChg chg="del">
          <ac:chgData name="Brian Vad Mathiesen" userId="8a78f856-4b15-4561-8b43-ae1e886d028a" providerId="ADAL" clId="{C28C5F6A-EC42-4D31-B902-557188BEE065}" dt="2022-05-04T14:49:29.979" v="561" actId="478"/>
          <ac:picMkLst>
            <pc:docMk/>
            <pc:sldMk cId="599005645" sldId="594"/>
            <ac:picMk id="3" creationId="{00000000-0000-0000-0000-000000000000}"/>
          </ac:picMkLst>
        </pc:picChg>
        <pc:picChg chg="add mod">
          <ac:chgData name="Brian Vad Mathiesen" userId="8a78f856-4b15-4561-8b43-ae1e886d028a" providerId="ADAL" clId="{C28C5F6A-EC42-4D31-B902-557188BEE065}" dt="2022-05-04T14:49:35.015" v="565" actId="1076"/>
          <ac:picMkLst>
            <pc:docMk/>
            <pc:sldMk cId="599005645" sldId="594"/>
            <ac:picMk id="4" creationId="{94732874-062F-4E84-A152-65882803220B}"/>
          </ac:picMkLst>
        </pc:picChg>
      </pc:sldChg>
      <pc:sldChg chg="del">
        <pc:chgData name="Brian Vad Mathiesen" userId="8a78f856-4b15-4561-8b43-ae1e886d028a" providerId="ADAL" clId="{C28C5F6A-EC42-4D31-B902-557188BEE065}" dt="2022-05-04T14:57:50.575" v="676" actId="47"/>
        <pc:sldMkLst>
          <pc:docMk/>
          <pc:sldMk cId="3653794581" sldId="601"/>
        </pc:sldMkLst>
      </pc:sldChg>
      <pc:sldChg chg="del">
        <pc:chgData name="Brian Vad Mathiesen" userId="8a78f856-4b15-4561-8b43-ae1e886d028a" providerId="ADAL" clId="{C28C5F6A-EC42-4D31-B902-557188BEE065}" dt="2022-05-04T14:56:15.895" v="647" actId="47"/>
        <pc:sldMkLst>
          <pc:docMk/>
          <pc:sldMk cId="765921396" sldId="602"/>
        </pc:sldMkLst>
      </pc:sldChg>
      <pc:sldChg chg="add del">
        <pc:chgData name="Brian Vad Mathiesen" userId="8a78f856-4b15-4561-8b43-ae1e886d028a" providerId="ADAL" clId="{C28C5F6A-EC42-4D31-B902-557188BEE065}" dt="2022-05-04T15:10:03.093" v="1015" actId="47"/>
        <pc:sldMkLst>
          <pc:docMk/>
          <pc:sldMk cId="1403156692" sldId="608"/>
        </pc:sldMkLst>
      </pc:sldChg>
      <pc:sldChg chg="del">
        <pc:chgData name="Brian Vad Mathiesen" userId="8a78f856-4b15-4561-8b43-ae1e886d028a" providerId="ADAL" clId="{C28C5F6A-EC42-4D31-B902-557188BEE065}" dt="2022-05-04T14:56:33.157" v="652" actId="47"/>
        <pc:sldMkLst>
          <pc:docMk/>
          <pc:sldMk cId="333981199" sldId="609"/>
        </pc:sldMkLst>
      </pc:sldChg>
      <pc:sldChg chg="add del">
        <pc:chgData name="Brian Vad Mathiesen" userId="8a78f856-4b15-4561-8b43-ae1e886d028a" providerId="ADAL" clId="{C28C5F6A-EC42-4D31-B902-557188BEE065}" dt="2022-05-04T15:10:07.787" v="1016" actId="47"/>
        <pc:sldMkLst>
          <pc:docMk/>
          <pc:sldMk cId="1480904218" sldId="610"/>
        </pc:sldMkLst>
      </pc:sldChg>
      <pc:sldChg chg="del">
        <pc:chgData name="Brian Vad Mathiesen" userId="8a78f856-4b15-4561-8b43-ae1e886d028a" providerId="ADAL" clId="{C28C5F6A-EC42-4D31-B902-557188BEE065}" dt="2022-05-04T14:57:37.064" v="673" actId="47"/>
        <pc:sldMkLst>
          <pc:docMk/>
          <pc:sldMk cId="2343051164" sldId="611"/>
        </pc:sldMkLst>
      </pc:sldChg>
      <pc:sldChg chg="del">
        <pc:chgData name="Brian Vad Mathiesen" userId="8a78f856-4b15-4561-8b43-ae1e886d028a" providerId="ADAL" clId="{C28C5F6A-EC42-4D31-B902-557188BEE065}" dt="2022-05-04T15:06:11.718" v="944" actId="47"/>
        <pc:sldMkLst>
          <pc:docMk/>
          <pc:sldMk cId="543557984" sldId="613"/>
        </pc:sldMkLst>
      </pc:sldChg>
      <pc:sldChg chg="del">
        <pc:chgData name="Brian Vad Mathiesen" userId="8a78f856-4b15-4561-8b43-ae1e886d028a" providerId="ADAL" clId="{C28C5F6A-EC42-4D31-B902-557188BEE065}" dt="2022-05-04T15:06:11.718" v="944" actId="47"/>
        <pc:sldMkLst>
          <pc:docMk/>
          <pc:sldMk cId="1998784668" sldId="614"/>
        </pc:sldMkLst>
      </pc:sldChg>
      <pc:sldChg chg="addSp delSp modSp add mod">
        <pc:chgData name="Brian Vad Mathiesen" userId="8a78f856-4b15-4561-8b43-ae1e886d028a" providerId="ADAL" clId="{C28C5F6A-EC42-4D31-B902-557188BEE065}" dt="2022-05-04T15:18:24.326" v="1160" actId="1076"/>
        <pc:sldMkLst>
          <pc:docMk/>
          <pc:sldMk cId="2699109299" sldId="620"/>
        </pc:sldMkLst>
        <pc:spChg chg="mod">
          <ac:chgData name="Brian Vad Mathiesen" userId="8a78f856-4b15-4561-8b43-ae1e886d028a" providerId="ADAL" clId="{C28C5F6A-EC42-4D31-B902-557188BEE065}" dt="2022-05-04T15:17:55.776" v="1155" actId="14100"/>
          <ac:spMkLst>
            <pc:docMk/>
            <pc:sldMk cId="2699109299" sldId="620"/>
            <ac:spMk id="10" creationId="{00000000-0000-0000-0000-000000000000}"/>
          </ac:spMkLst>
        </pc:spChg>
        <pc:spChg chg="mod">
          <ac:chgData name="Brian Vad Mathiesen" userId="8a78f856-4b15-4561-8b43-ae1e886d028a" providerId="ADAL" clId="{C28C5F6A-EC42-4D31-B902-557188BEE065}" dt="2022-05-04T15:18:18.930" v="1158" actId="14100"/>
          <ac:spMkLst>
            <pc:docMk/>
            <pc:sldMk cId="2699109299" sldId="620"/>
            <ac:spMk id="13" creationId="{00000000-0000-0000-0000-000000000000}"/>
          </ac:spMkLst>
        </pc:spChg>
        <pc:spChg chg="del">
          <ac:chgData name="Brian Vad Mathiesen" userId="8a78f856-4b15-4561-8b43-ae1e886d028a" providerId="ADAL" clId="{C28C5F6A-EC42-4D31-B902-557188BEE065}" dt="2022-05-04T15:17:17.670" v="1147" actId="478"/>
          <ac:spMkLst>
            <pc:docMk/>
            <pc:sldMk cId="2699109299" sldId="620"/>
            <ac:spMk id="14" creationId="{00000000-0000-0000-0000-000000000000}"/>
          </ac:spMkLst>
        </pc:spChg>
        <pc:spChg chg="mod">
          <ac:chgData name="Brian Vad Mathiesen" userId="8a78f856-4b15-4561-8b43-ae1e886d028a" providerId="ADAL" clId="{C28C5F6A-EC42-4D31-B902-557188BEE065}" dt="2022-05-04T15:18:13.988" v="1157" actId="14100"/>
          <ac:spMkLst>
            <pc:docMk/>
            <pc:sldMk cId="2699109299" sldId="620"/>
            <ac:spMk id="16" creationId="{00000000-0000-0000-0000-000000000000}"/>
          </ac:spMkLst>
        </pc:spChg>
        <pc:spChg chg="add mod">
          <ac:chgData name="Brian Vad Mathiesen" userId="8a78f856-4b15-4561-8b43-ae1e886d028a" providerId="ADAL" clId="{C28C5F6A-EC42-4D31-B902-557188BEE065}" dt="2022-05-04T15:18:21.854" v="1159" actId="1076"/>
          <ac:spMkLst>
            <pc:docMk/>
            <pc:sldMk cId="2699109299" sldId="620"/>
            <ac:spMk id="18" creationId="{02A4179F-A81E-4E31-A2A4-AD59A2602F97}"/>
          </ac:spMkLst>
        </pc:spChg>
        <pc:spChg chg="add mod">
          <ac:chgData name="Brian Vad Mathiesen" userId="8a78f856-4b15-4561-8b43-ae1e886d028a" providerId="ADAL" clId="{C28C5F6A-EC42-4D31-B902-557188BEE065}" dt="2022-05-04T15:17:34.067" v="1153" actId="14100"/>
          <ac:spMkLst>
            <pc:docMk/>
            <pc:sldMk cId="2699109299" sldId="620"/>
            <ac:spMk id="19" creationId="{07D60688-686E-43E2-B382-FB6B735D89CD}"/>
          </ac:spMkLst>
        </pc:spChg>
        <pc:spChg chg="add mod">
          <ac:chgData name="Brian Vad Mathiesen" userId="8a78f856-4b15-4561-8b43-ae1e886d028a" providerId="ADAL" clId="{C28C5F6A-EC42-4D31-B902-557188BEE065}" dt="2022-05-04T15:18:24.326" v="1160" actId="1076"/>
          <ac:spMkLst>
            <pc:docMk/>
            <pc:sldMk cId="2699109299" sldId="620"/>
            <ac:spMk id="20" creationId="{BF8AB880-A90E-40EB-A11E-2DEAC83DF7DF}"/>
          </ac:spMkLst>
        </pc:spChg>
        <pc:picChg chg="add mod">
          <ac:chgData name="Brian Vad Mathiesen" userId="8a78f856-4b15-4561-8b43-ae1e886d028a" providerId="ADAL" clId="{C28C5F6A-EC42-4D31-B902-557188BEE065}" dt="2022-05-04T15:16:27.070" v="1105" actId="14100"/>
          <ac:picMkLst>
            <pc:docMk/>
            <pc:sldMk cId="2699109299" sldId="620"/>
            <ac:picMk id="4" creationId="{F76801A4-D1BC-400A-85A2-832A6943694C}"/>
          </ac:picMkLst>
        </pc:picChg>
      </pc:sldChg>
      <pc:sldChg chg="add">
        <pc:chgData name="Brian Vad Mathiesen" userId="8a78f856-4b15-4561-8b43-ae1e886d028a" providerId="ADAL" clId="{C28C5F6A-EC42-4D31-B902-557188BEE065}" dt="2022-05-04T13:38:15.349" v="135"/>
        <pc:sldMkLst>
          <pc:docMk/>
          <pc:sldMk cId="1944543655" sldId="622"/>
        </pc:sldMkLst>
      </pc:sldChg>
      <pc:sldChg chg="del">
        <pc:chgData name="Brian Vad Mathiesen" userId="8a78f856-4b15-4561-8b43-ae1e886d028a" providerId="ADAL" clId="{C28C5F6A-EC42-4D31-B902-557188BEE065}" dt="2022-05-04T15:06:03.965" v="942" actId="47"/>
        <pc:sldMkLst>
          <pc:docMk/>
          <pc:sldMk cId="2742679603" sldId="626"/>
        </pc:sldMkLst>
      </pc:sldChg>
      <pc:sldChg chg="del">
        <pc:chgData name="Brian Vad Mathiesen" userId="8a78f856-4b15-4561-8b43-ae1e886d028a" providerId="ADAL" clId="{C28C5F6A-EC42-4D31-B902-557188BEE065}" dt="2022-05-04T15:06:11.718" v="944" actId="47"/>
        <pc:sldMkLst>
          <pc:docMk/>
          <pc:sldMk cId="849293263" sldId="627"/>
        </pc:sldMkLst>
      </pc:sldChg>
      <pc:sldChg chg="del">
        <pc:chgData name="Brian Vad Mathiesen" userId="8a78f856-4b15-4561-8b43-ae1e886d028a" providerId="ADAL" clId="{C28C5F6A-EC42-4D31-B902-557188BEE065}" dt="2022-05-04T15:06:11.718" v="944" actId="47"/>
        <pc:sldMkLst>
          <pc:docMk/>
          <pc:sldMk cId="1549892719" sldId="628"/>
        </pc:sldMkLst>
      </pc:sldChg>
      <pc:sldChg chg="del">
        <pc:chgData name="Brian Vad Mathiesen" userId="8a78f856-4b15-4561-8b43-ae1e886d028a" providerId="ADAL" clId="{C28C5F6A-EC42-4D31-B902-557188BEE065}" dt="2022-05-04T14:56:02.759" v="644" actId="47"/>
        <pc:sldMkLst>
          <pc:docMk/>
          <pc:sldMk cId="2471179346" sldId="629"/>
        </pc:sldMkLst>
      </pc:sldChg>
      <pc:sldChg chg="del">
        <pc:chgData name="Brian Vad Mathiesen" userId="8a78f856-4b15-4561-8b43-ae1e886d028a" providerId="ADAL" clId="{C28C5F6A-EC42-4D31-B902-557188BEE065}" dt="2022-05-04T14:56:13.446" v="646" actId="47"/>
        <pc:sldMkLst>
          <pc:docMk/>
          <pc:sldMk cId="1278863251" sldId="632"/>
        </pc:sldMkLst>
      </pc:sldChg>
      <pc:sldChg chg="addSp delSp modSp add del mod">
        <pc:chgData name="Brian Vad Mathiesen" userId="8a78f856-4b15-4561-8b43-ae1e886d028a" providerId="ADAL" clId="{C28C5F6A-EC42-4D31-B902-557188BEE065}" dt="2022-05-04T15:11:12.562" v="1029" actId="47"/>
        <pc:sldMkLst>
          <pc:docMk/>
          <pc:sldMk cId="2715719912" sldId="661"/>
        </pc:sldMkLst>
        <pc:spChg chg="add mod">
          <ac:chgData name="Brian Vad Mathiesen" userId="8a78f856-4b15-4561-8b43-ae1e886d028a" providerId="ADAL" clId="{C28C5F6A-EC42-4D31-B902-557188BEE065}" dt="2022-05-04T14:49:26.517" v="560" actId="21"/>
          <ac:spMkLst>
            <pc:docMk/>
            <pc:sldMk cId="2715719912" sldId="661"/>
            <ac:spMk id="3" creationId="{4E9256C1-DF73-47E2-935E-208DF541546D}"/>
          </ac:spMkLst>
        </pc:spChg>
        <pc:picChg chg="del">
          <ac:chgData name="Brian Vad Mathiesen" userId="8a78f856-4b15-4561-8b43-ae1e886d028a" providerId="ADAL" clId="{C28C5F6A-EC42-4D31-B902-557188BEE065}" dt="2022-05-04T14:49:26.517" v="560" actId="21"/>
          <ac:picMkLst>
            <pc:docMk/>
            <pc:sldMk cId="2715719912" sldId="661"/>
            <ac:picMk id="5" creationId="{B75FC61D-274F-486C-B1A2-CD92A94D4481}"/>
          </ac:picMkLst>
        </pc:picChg>
      </pc:sldChg>
      <pc:sldChg chg="ord">
        <pc:chgData name="Brian Vad Mathiesen" userId="8a78f856-4b15-4561-8b43-ae1e886d028a" providerId="ADAL" clId="{C28C5F6A-EC42-4D31-B902-557188BEE065}" dt="2022-05-04T15:10:26.696" v="1019"/>
        <pc:sldMkLst>
          <pc:docMk/>
          <pc:sldMk cId="2864796097" sldId="692"/>
        </pc:sldMkLst>
      </pc:sldChg>
      <pc:sldChg chg="del">
        <pc:chgData name="Brian Vad Mathiesen" userId="8a78f856-4b15-4561-8b43-ae1e886d028a" providerId="ADAL" clId="{C28C5F6A-EC42-4D31-B902-557188BEE065}" dt="2022-05-04T15:06:11.718" v="944" actId="47"/>
        <pc:sldMkLst>
          <pc:docMk/>
          <pc:sldMk cId="3677403489" sldId="696"/>
        </pc:sldMkLst>
      </pc:sldChg>
      <pc:sldChg chg="del">
        <pc:chgData name="Brian Vad Mathiesen" userId="8a78f856-4b15-4561-8b43-ae1e886d028a" providerId="ADAL" clId="{C28C5F6A-EC42-4D31-B902-557188BEE065}" dt="2022-05-04T15:06:11.718" v="944" actId="47"/>
        <pc:sldMkLst>
          <pc:docMk/>
          <pc:sldMk cId="23098311" sldId="697"/>
        </pc:sldMkLst>
      </pc:sldChg>
      <pc:sldChg chg="del">
        <pc:chgData name="Brian Vad Mathiesen" userId="8a78f856-4b15-4561-8b43-ae1e886d028a" providerId="ADAL" clId="{C28C5F6A-EC42-4D31-B902-557188BEE065}" dt="2022-05-04T14:57:45.571" v="675" actId="47"/>
        <pc:sldMkLst>
          <pc:docMk/>
          <pc:sldMk cId="1175298744" sldId="703"/>
        </pc:sldMkLst>
      </pc:sldChg>
      <pc:sldChg chg="del">
        <pc:chgData name="Brian Vad Mathiesen" userId="8a78f856-4b15-4561-8b43-ae1e886d028a" providerId="ADAL" clId="{C28C5F6A-EC42-4D31-B902-557188BEE065}" dt="2022-05-04T15:06:00.903" v="938" actId="47"/>
        <pc:sldMkLst>
          <pc:docMk/>
          <pc:sldMk cId="2958145359" sldId="704"/>
        </pc:sldMkLst>
      </pc:sldChg>
      <pc:sldChg chg="del">
        <pc:chgData name="Brian Vad Mathiesen" userId="8a78f856-4b15-4561-8b43-ae1e886d028a" providerId="ADAL" clId="{C28C5F6A-EC42-4D31-B902-557188BEE065}" dt="2022-05-04T15:06:11.718" v="944" actId="47"/>
        <pc:sldMkLst>
          <pc:docMk/>
          <pc:sldMk cId="2629673502" sldId="705"/>
        </pc:sldMkLst>
      </pc:sldChg>
      <pc:sldChg chg="del">
        <pc:chgData name="Brian Vad Mathiesen" userId="8a78f856-4b15-4561-8b43-ae1e886d028a" providerId="ADAL" clId="{C28C5F6A-EC42-4D31-B902-557188BEE065}" dt="2022-05-04T15:06:01.861" v="939" actId="47"/>
        <pc:sldMkLst>
          <pc:docMk/>
          <pc:sldMk cId="1931454537" sldId="706"/>
        </pc:sldMkLst>
      </pc:sldChg>
      <pc:sldChg chg="del">
        <pc:chgData name="Brian Vad Mathiesen" userId="8a78f856-4b15-4561-8b43-ae1e886d028a" providerId="ADAL" clId="{C28C5F6A-EC42-4D31-B902-557188BEE065}" dt="2022-05-04T15:06:02.323" v="940" actId="47"/>
        <pc:sldMkLst>
          <pc:docMk/>
          <pc:sldMk cId="2211892459" sldId="707"/>
        </pc:sldMkLst>
      </pc:sldChg>
      <pc:sldChg chg="modSp add del mod">
        <pc:chgData name="Brian Vad Mathiesen" userId="8a78f856-4b15-4561-8b43-ae1e886d028a" providerId="ADAL" clId="{C28C5F6A-EC42-4D31-B902-557188BEE065}" dt="2022-05-04T15:12:11.159" v="1032" actId="47"/>
        <pc:sldMkLst>
          <pc:docMk/>
          <pc:sldMk cId="84652754" sldId="816"/>
        </pc:sldMkLst>
        <pc:spChg chg="mod">
          <ac:chgData name="Brian Vad Mathiesen" userId="8a78f856-4b15-4561-8b43-ae1e886d028a" providerId="ADAL" clId="{C28C5F6A-EC42-4D31-B902-557188BEE065}" dt="2022-05-04T15:11:56.644" v="1031" actId="27636"/>
          <ac:spMkLst>
            <pc:docMk/>
            <pc:sldMk cId="84652754" sldId="816"/>
            <ac:spMk id="2" creationId="{00000000-0000-0000-0000-000000000000}"/>
          </ac:spMkLst>
        </pc:spChg>
      </pc:sldChg>
      <pc:sldChg chg="modSp add mod ord">
        <pc:chgData name="Brian Vad Mathiesen" userId="8a78f856-4b15-4561-8b43-ae1e886d028a" providerId="ADAL" clId="{C28C5F6A-EC42-4D31-B902-557188BEE065}" dt="2022-05-04T15:11:06.825" v="1028"/>
        <pc:sldMkLst>
          <pc:docMk/>
          <pc:sldMk cId="4082568244" sldId="891"/>
        </pc:sldMkLst>
        <pc:spChg chg="mod">
          <ac:chgData name="Brian Vad Mathiesen" userId="8a78f856-4b15-4561-8b43-ae1e886d028a" providerId="ADAL" clId="{C28C5F6A-EC42-4D31-B902-557188BEE065}" dt="2022-05-04T14:55:56.489" v="643" actId="6549"/>
          <ac:spMkLst>
            <pc:docMk/>
            <pc:sldMk cId="4082568244" sldId="891"/>
            <ac:spMk id="3" creationId="{56E254E4-9551-4119-819C-55B5782EBF1F}"/>
          </ac:spMkLst>
        </pc:spChg>
        <pc:spChg chg="mod">
          <ac:chgData name="Brian Vad Mathiesen" userId="8a78f856-4b15-4561-8b43-ae1e886d028a" providerId="ADAL" clId="{C28C5F6A-EC42-4D31-B902-557188BEE065}" dt="2022-05-04T14:55:49.410" v="641" actId="1076"/>
          <ac:spMkLst>
            <pc:docMk/>
            <pc:sldMk cId="4082568244" sldId="891"/>
            <ac:spMk id="9" creationId="{AFB043D4-B897-4447-B63D-BF24496DBE12}"/>
          </ac:spMkLst>
        </pc:spChg>
        <pc:picChg chg="mod">
          <ac:chgData name="Brian Vad Mathiesen" userId="8a78f856-4b15-4561-8b43-ae1e886d028a" providerId="ADAL" clId="{C28C5F6A-EC42-4D31-B902-557188BEE065}" dt="2022-05-04T14:55:52.789" v="642" actId="1076"/>
          <ac:picMkLst>
            <pc:docMk/>
            <pc:sldMk cId="4082568244" sldId="891"/>
            <ac:picMk id="11" creationId="{A703C360-CB92-441A-9654-547A62B7A18A}"/>
          </ac:picMkLst>
        </pc:picChg>
      </pc:sldChg>
      <pc:sldChg chg="modSp add del mod ord">
        <pc:chgData name="Brian Vad Mathiesen" userId="8a78f856-4b15-4561-8b43-ae1e886d028a" providerId="ADAL" clId="{C28C5F6A-EC42-4D31-B902-557188BEE065}" dt="2022-05-04T14:51:38.652" v="585" actId="2696"/>
        <pc:sldMkLst>
          <pc:docMk/>
          <pc:sldMk cId="1795394025" sldId="893"/>
        </pc:sldMkLst>
        <pc:spChg chg="mod">
          <ac:chgData name="Brian Vad Mathiesen" userId="8a78f856-4b15-4561-8b43-ae1e886d028a" providerId="ADAL" clId="{C28C5F6A-EC42-4D31-B902-557188BEE065}" dt="2022-05-04T13:24:00.823" v="103" actId="1076"/>
          <ac:spMkLst>
            <pc:docMk/>
            <pc:sldMk cId="1795394025" sldId="893"/>
            <ac:spMk id="2" creationId="{F4F9CC0A-8B54-4865-8A8E-24A54EC86F5E}"/>
          </ac:spMkLst>
        </pc:spChg>
      </pc:sldChg>
      <pc:sldChg chg="addSp delSp modSp add mod ord">
        <pc:chgData name="Brian Vad Mathiesen" userId="8a78f856-4b15-4561-8b43-ae1e886d028a" providerId="ADAL" clId="{C28C5F6A-EC42-4D31-B902-557188BEE065}" dt="2022-05-04T14:54:32.518" v="630"/>
        <pc:sldMkLst>
          <pc:docMk/>
          <pc:sldMk cId="2799320435" sldId="893"/>
        </pc:sldMkLst>
        <pc:spChg chg="mod">
          <ac:chgData name="Brian Vad Mathiesen" userId="8a78f856-4b15-4561-8b43-ae1e886d028a" providerId="ADAL" clId="{C28C5F6A-EC42-4D31-B902-557188BEE065}" dt="2022-05-04T14:53:03.522" v="611" actId="20577"/>
          <ac:spMkLst>
            <pc:docMk/>
            <pc:sldMk cId="2799320435" sldId="893"/>
            <ac:spMk id="2" creationId="{F4F9CC0A-8B54-4865-8A8E-24A54EC86F5E}"/>
          </ac:spMkLst>
        </pc:spChg>
        <pc:spChg chg="del">
          <ac:chgData name="Brian Vad Mathiesen" userId="8a78f856-4b15-4561-8b43-ae1e886d028a" providerId="ADAL" clId="{C28C5F6A-EC42-4D31-B902-557188BEE065}" dt="2022-05-04T14:52:47.890" v="598" actId="478"/>
          <ac:spMkLst>
            <pc:docMk/>
            <pc:sldMk cId="2799320435" sldId="893"/>
            <ac:spMk id="3" creationId="{23C19D59-6949-4FEA-8C84-3E1787793770}"/>
          </ac:spMkLst>
        </pc:spChg>
        <pc:picChg chg="add mod">
          <ac:chgData name="Brian Vad Mathiesen" userId="8a78f856-4b15-4561-8b43-ae1e886d028a" providerId="ADAL" clId="{C28C5F6A-EC42-4D31-B902-557188BEE065}" dt="2022-05-04T14:52:53.607" v="601" actId="1076"/>
          <ac:picMkLst>
            <pc:docMk/>
            <pc:sldMk cId="2799320435" sldId="893"/>
            <ac:picMk id="5" creationId="{F936EEE6-D31E-458B-8F2C-1241813D8BDF}"/>
          </ac:picMkLst>
        </pc:picChg>
      </pc:sldChg>
      <pc:sldChg chg="modSp mod ord">
        <pc:chgData name="Brian Vad Mathiesen" userId="8a78f856-4b15-4561-8b43-ae1e886d028a" providerId="ADAL" clId="{C28C5F6A-EC42-4D31-B902-557188BEE065}" dt="2022-05-04T14:57:35.264" v="672" actId="14100"/>
        <pc:sldMkLst>
          <pc:docMk/>
          <pc:sldMk cId="945663740" sldId="895"/>
        </pc:sldMkLst>
        <pc:spChg chg="mod">
          <ac:chgData name="Brian Vad Mathiesen" userId="8a78f856-4b15-4561-8b43-ae1e886d028a" providerId="ADAL" clId="{C28C5F6A-EC42-4D31-B902-557188BEE065}" dt="2022-05-04T14:56:59.468" v="666" actId="1076"/>
          <ac:spMkLst>
            <pc:docMk/>
            <pc:sldMk cId="945663740" sldId="895"/>
            <ac:spMk id="2" creationId="{F4F9CC0A-8B54-4865-8A8E-24A54EC86F5E}"/>
          </ac:spMkLst>
        </pc:spChg>
        <pc:picChg chg="mod">
          <ac:chgData name="Brian Vad Mathiesen" userId="8a78f856-4b15-4561-8b43-ae1e886d028a" providerId="ADAL" clId="{C28C5F6A-EC42-4D31-B902-557188BEE065}" dt="2022-05-04T14:57:35.264" v="672" actId="14100"/>
          <ac:picMkLst>
            <pc:docMk/>
            <pc:sldMk cId="945663740" sldId="895"/>
            <ac:picMk id="4" creationId="{4ED75762-1910-450C-AB4C-EC11BC6DD74E}"/>
          </ac:picMkLst>
        </pc:picChg>
      </pc:sldChg>
      <pc:sldChg chg="ord">
        <pc:chgData name="Brian Vad Mathiesen" userId="8a78f856-4b15-4561-8b43-ae1e886d028a" providerId="ADAL" clId="{C28C5F6A-EC42-4D31-B902-557188BEE065}" dt="2022-05-04T15:10:26.696" v="1019"/>
        <pc:sldMkLst>
          <pc:docMk/>
          <pc:sldMk cId="739843329" sldId="896"/>
        </pc:sldMkLst>
      </pc:sldChg>
      <pc:sldChg chg="modSp mod ord">
        <pc:chgData name="Brian Vad Mathiesen" userId="8a78f856-4b15-4561-8b43-ae1e886d028a" providerId="ADAL" clId="{C28C5F6A-EC42-4D31-B902-557188BEE065}" dt="2022-05-04T15:11:06.825" v="1028"/>
        <pc:sldMkLst>
          <pc:docMk/>
          <pc:sldMk cId="123939385" sldId="897"/>
        </pc:sldMkLst>
        <pc:spChg chg="mod">
          <ac:chgData name="Brian Vad Mathiesen" userId="8a78f856-4b15-4561-8b43-ae1e886d028a" providerId="ADAL" clId="{C28C5F6A-EC42-4D31-B902-557188BEE065}" dt="2022-05-04T15:10:46.791" v="1021" actId="1076"/>
          <ac:spMkLst>
            <pc:docMk/>
            <pc:sldMk cId="123939385" sldId="897"/>
            <ac:spMk id="2" creationId="{6B6D9F96-FAA3-4A4C-B92C-BBBA9798E3C0}"/>
          </ac:spMkLst>
        </pc:spChg>
        <pc:spChg chg="mod">
          <ac:chgData name="Brian Vad Mathiesen" userId="8a78f856-4b15-4561-8b43-ae1e886d028a" providerId="ADAL" clId="{C28C5F6A-EC42-4D31-B902-557188BEE065}" dt="2022-05-04T15:10:44.387" v="1020" actId="1076"/>
          <ac:spMkLst>
            <pc:docMk/>
            <pc:sldMk cId="123939385" sldId="897"/>
            <ac:spMk id="9" creationId="{CF9B59B7-9F9B-41B6-B5DC-A435A077A6E9}"/>
          </ac:spMkLst>
        </pc:spChg>
      </pc:sldChg>
      <pc:sldChg chg="del">
        <pc:chgData name="Brian Vad Mathiesen" userId="8a78f856-4b15-4561-8b43-ae1e886d028a" providerId="ADAL" clId="{C28C5F6A-EC42-4D31-B902-557188BEE065}" dt="2022-05-04T15:07:21.146" v="958" actId="47"/>
        <pc:sldMkLst>
          <pc:docMk/>
          <pc:sldMk cId="1358714593" sldId="898"/>
        </pc:sldMkLst>
      </pc:sldChg>
      <pc:sldChg chg="del">
        <pc:chgData name="Brian Vad Mathiesen" userId="8a78f856-4b15-4561-8b43-ae1e886d028a" providerId="ADAL" clId="{C28C5F6A-EC42-4D31-B902-557188BEE065}" dt="2022-05-04T15:07:42.531" v="965" actId="47"/>
        <pc:sldMkLst>
          <pc:docMk/>
          <pc:sldMk cId="3254981191" sldId="899"/>
        </pc:sldMkLst>
      </pc:sldChg>
      <pc:sldChg chg="del">
        <pc:chgData name="Brian Vad Mathiesen" userId="8a78f856-4b15-4561-8b43-ae1e886d028a" providerId="ADAL" clId="{C28C5F6A-EC42-4D31-B902-557188BEE065}" dt="2022-05-04T15:08:17.385" v="975" actId="47"/>
        <pc:sldMkLst>
          <pc:docMk/>
          <pc:sldMk cId="3772584522" sldId="901"/>
        </pc:sldMkLst>
      </pc:sldChg>
      <pc:sldChg chg="ord">
        <pc:chgData name="Brian Vad Mathiesen" userId="8a78f856-4b15-4561-8b43-ae1e886d028a" providerId="ADAL" clId="{C28C5F6A-EC42-4D31-B902-557188BEE065}" dt="2022-05-04T15:11:06.825" v="1028"/>
        <pc:sldMkLst>
          <pc:docMk/>
          <pc:sldMk cId="1234468140" sldId="903"/>
        </pc:sldMkLst>
      </pc:sldChg>
      <pc:sldChg chg="ord">
        <pc:chgData name="Brian Vad Mathiesen" userId="8a78f856-4b15-4561-8b43-ae1e886d028a" providerId="ADAL" clId="{C28C5F6A-EC42-4D31-B902-557188BEE065}" dt="2022-05-04T15:11:06.825" v="1028"/>
        <pc:sldMkLst>
          <pc:docMk/>
          <pc:sldMk cId="545324533" sldId="904"/>
        </pc:sldMkLst>
      </pc:sldChg>
      <pc:sldChg chg="ord">
        <pc:chgData name="Brian Vad Mathiesen" userId="8a78f856-4b15-4561-8b43-ae1e886d028a" providerId="ADAL" clId="{C28C5F6A-EC42-4D31-B902-557188BEE065}" dt="2022-05-04T15:11:06.825" v="1028"/>
        <pc:sldMkLst>
          <pc:docMk/>
          <pc:sldMk cId="1600777167" sldId="905"/>
        </pc:sldMkLst>
      </pc:sldChg>
      <pc:sldChg chg="ord">
        <pc:chgData name="Brian Vad Mathiesen" userId="8a78f856-4b15-4561-8b43-ae1e886d028a" providerId="ADAL" clId="{C28C5F6A-EC42-4D31-B902-557188BEE065}" dt="2022-05-04T15:11:06.825" v="1028"/>
        <pc:sldMkLst>
          <pc:docMk/>
          <pc:sldMk cId="2279518974" sldId="906"/>
        </pc:sldMkLst>
      </pc:sldChg>
      <pc:sldChg chg="ord">
        <pc:chgData name="Brian Vad Mathiesen" userId="8a78f856-4b15-4561-8b43-ae1e886d028a" providerId="ADAL" clId="{C28C5F6A-EC42-4D31-B902-557188BEE065}" dt="2022-05-04T15:11:06.825" v="1028"/>
        <pc:sldMkLst>
          <pc:docMk/>
          <pc:sldMk cId="1196228149" sldId="907"/>
        </pc:sldMkLst>
      </pc:sldChg>
      <pc:sldChg chg="ord">
        <pc:chgData name="Brian Vad Mathiesen" userId="8a78f856-4b15-4561-8b43-ae1e886d028a" providerId="ADAL" clId="{C28C5F6A-EC42-4D31-B902-557188BEE065}" dt="2022-05-04T15:11:06.825" v="1028"/>
        <pc:sldMkLst>
          <pc:docMk/>
          <pc:sldMk cId="1158395568" sldId="909"/>
        </pc:sldMkLst>
      </pc:sldChg>
      <pc:sldChg chg="ord">
        <pc:chgData name="Brian Vad Mathiesen" userId="8a78f856-4b15-4561-8b43-ae1e886d028a" providerId="ADAL" clId="{C28C5F6A-EC42-4D31-B902-557188BEE065}" dt="2022-05-04T15:11:06.825" v="1028"/>
        <pc:sldMkLst>
          <pc:docMk/>
          <pc:sldMk cId="3094037328" sldId="910"/>
        </pc:sldMkLst>
      </pc:sldChg>
      <pc:sldChg chg="modSp mod ord">
        <pc:chgData name="Brian Vad Mathiesen" userId="8a78f856-4b15-4561-8b43-ae1e886d028a" providerId="ADAL" clId="{C28C5F6A-EC42-4D31-B902-557188BEE065}" dt="2022-05-04T15:10:26.696" v="1019"/>
        <pc:sldMkLst>
          <pc:docMk/>
          <pc:sldMk cId="2257490145" sldId="911"/>
        </pc:sldMkLst>
        <pc:spChg chg="mod">
          <ac:chgData name="Brian Vad Mathiesen" userId="8a78f856-4b15-4561-8b43-ae1e886d028a" providerId="ADAL" clId="{C28C5F6A-EC42-4D31-B902-557188BEE065}" dt="2022-05-04T15:06:32.898" v="949" actId="1076"/>
          <ac:spMkLst>
            <pc:docMk/>
            <pc:sldMk cId="2257490145" sldId="911"/>
            <ac:spMk id="2" creationId="{00000000-0000-0000-0000-000000000000}"/>
          </ac:spMkLst>
        </pc:spChg>
        <pc:spChg chg="mod">
          <ac:chgData name="Brian Vad Mathiesen" userId="8a78f856-4b15-4561-8b43-ae1e886d028a" providerId="ADAL" clId="{C28C5F6A-EC42-4D31-B902-557188BEE065}" dt="2022-05-04T15:06:30.382" v="948" actId="1076"/>
          <ac:spMkLst>
            <pc:docMk/>
            <pc:sldMk cId="2257490145" sldId="911"/>
            <ac:spMk id="3" creationId="{00000000-0000-0000-0000-000000000000}"/>
          </ac:spMkLst>
        </pc:spChg>
      </pc:sldChg>
      <pc:sldChg chg="modSp mod ord">
        <pc:chgData name="Brian Vad Mathiesen" userId="8a78f856-4b15-4561-8b43-ae1e886d028a" providerId="ADAL" clId="{C28C5F6A-EC42-4D31-B902-557188BEE065}" dt="2022-05-04T15:10:26.696" v="1019"/>
        <pc:sldMkLst>
          <pc:docMk/>
          <pc:sldMk cId="1994449202" sldId="912"/>
        </pc:sldMkLst>
        <pc:spChg chg="mod">
          <ac:chgData name="Brian Vad Mathiesen" userId="8a78f856-4b15-4561-8b43-ae1e886d028a" providerId="ADAL" clId="{C28C5F6A-EC42-4D31-B902-557188BEE065}" dt="2022-05-04T15:06:23.568" v="947" actId="1076"/>
          <ac:spMkLst>
            <pc:docMk/>
            <pc:sldMk cId="1994449202" sldId="912"/>
            <ac:spMk id="2" creationId="{00000000-0000-0000-0000-000000000000}"/>
          </ac:spMkLst>
        </pc:spChg>
      </pc:sldChg>
      <pc:sldChg chg="del">
        <pc:chgData name="Brian Vad Mathiesen" userId="8a78f856-4b15-4561-8b43-ae1e886d028a" providerId="ADAL" clId="{C28C5F6A-EC42-4D31-B902-557188BEE065}" dt="2022-05-04T15:07:07.968" v="955" actId="47"/>
        <pc:sldMkLst>
          <pc:docMk/>
          <pc:sldMk cId="2696377198" sldId="913"/>
        </pc:sldMkLst>
      </pc:sldChg>
      <pc:sldChg chg="modSp add del mod">
        <pc:chgData name="Brian Vad Mathiesen" userId="8a78f856-4b15-4561-8b43-ae1e886d028a" providerId="ADAL" clId="{C28C5F6A-EC42-4D31-B902-557188BEE065}" dt="2022-05-04T14:55:21.060" v="639" actId="47"/>
        <pc:sldMkLst>
          <pc:docMk/>
          <pc:sldMk cId="3601026843" sldId="914"/>
        </pc:sldMkLst>
        <pc:spChg chg="mod">
          <ac:chgData name="Brian Vad Mathiesen" userId="8a78f856-4b15-4561-8b43-ae1e886d028a" providerId="ADAL" clId="{C28C5F6A-EC42-4D31-B902-557188BEE065}" dt="2022-05-04T14:55:07.151" v="631" actId="1076"/>
          <ac:spMkLst>
            <pc:docMk/>
            <pc:sldMk cId="3601026843" sldId="914"/>
            <ac:spMk id="5" creationId="{00000000-0000-0000-0000-000000000000}"/>
          </ac:spMkLst>
        </pc:spChg>
      </pc:sldChg>
      <pc:sldChg chg="addSp modSp add mod">
        <pc:chgData name="Brian Vad Mathiesen" userId="8a78f856-4b15-4561-8b43-ae1e886d028a" providerId="ADAL" clId="{C28C5F6A-EC42-4D31-B902-557188BEE065}" dt="2022-05-04T15:09:48.756" v="1014" actId="1076"/>
        <pc:sldMkLst>
          <pc:docMk/>
          <pc:sldMk cId="3378131733" sldId="915"/>
        </pc:sldMkLst>
        <pc:spChg chg="add mod">
          <ac:chgData name="Brian Vad Mathiesen" userId="8a78f856-4b15-4561-8b43-ae1e886d028a" providerId="ADAL" clId="{C28C5F6A-EC42-4D31-B902-557188BEE065}" dt="2022-05-04T15:09:43.600" v="1012" actId="1076"/>
          <ac:spMkLst>
            <pc:docMk/>
            <pc:sldMk cId="3378131733" sldId="915"/>
            <ac:spMk id="4" creationId="{2639B1B0-F896-41C8-9BC2-4280D8790B36}"/>
          </ac:spMkLst>
        </pc:spChg>
        <pc:spChg chg="mod">
          <ac:chgData name="Brian Vad Mathiesen" userId="8a78f856-4b15-4561-8b43-ae1e886d028a" providerId="ADAL" clId="{C28C5F6A-EC42-4D31-B902-557188BEE065}" dt="2022-05-04T15:08:58.785" v="979" actId="1076"/>
          <ac:spMkLst>
            <pc:docMk/>
            <pc:sldMk cId="3378131733" sldId="915"/>
            <ac:spMk id="6" creationId="{AE80C173-8C22-42C5-9393-E5F997547DD5}"/>
          </ac:spMkLst>
        </pc:spChg>
        <pc:picChg chg="mod">
          <ac:chgData name="Brian Vad Mathiesen" userId="8a78f856-4b15-4561-8b43-ae1e886d028a" providerId="ADAL" clId="{C28C5F6A-EC42-4D31-B902-557188BEE065}" dt="2022-05-04T15:09:35.806" v="1010" actId="1076"/>
          <ac:picMkLst>
            <pc:docMk/>
            <pc:sldMk cId="3378131733" sldId="915"/>
            <ac:picMk id="2" creationId="{00000000-0000-0000-0000-000000000000}"/>
          </ac:picMkLst>
        </pc:picChg>
        <pc:picChg chg="mod">
          <ac:chgData name="Brian Vad Mathiesen" userId="8a78f856-4b15-4561-8b43-ae1e886d028a" providerId="ADAL" clId="{C28C5F6A-EC42-4D31-B902-557188BEE065}" dt="2022-05-04T15:09:48.756" v="1014" actId="1076"/>
          <ac:picMkLst>
            <pc:docMk/>
            <pc:sldMk cId="3378131733" sldId="915"/>
            <ac:picMk id="3" creationId="{00000000-0000-0000-0000-000000000000}"/>
          </ac:picMkLst>
        </pc:picChg>
      </pc:sldChg>
      <pc:sldChg chg="modSp add del mod ord">
        <pc:chgData name="Brian Vad Mathiesen" userId="8a78f856-4b15-4561-8b43-ae1e886d028a" providerId="ADAL" clId="{C28C5F6A-EC42-4D31-B902-557188BEE065}" dt="2022-05-04T13:23:54.395" v="102" actId="47"/>
        <pc:sldMkLst>
          <pc:docMk/>
          <pc:sldMk cId="452063854" sldId="916"/>
        </pc:sldMkLst>
        <pc:spChg chg="mod">
          <ac:chgData name="Brian Vad Mathiesen" userId="8a78f856-4b15-4561-8b43-ae1e886d028a" providerId="ADAL" clId="{C28C5F6A-EC42-4D31-B902-557188BEE065}" dt="2022-05-04T11:55:31.485" v="4" actId="27636"/>
          <ac:spMkLst>
            <pc:docMk/>
            <pc:sldMk cId="452063854" sldId="916"/>
            <ac:spMk id="2" creationId="{F4F9CC0A-8B54-4865-8A8E-24A54EC86F5E}"/>
          </ac:spMkLst>
        </pc:spChg>
      </pc:sldChg>
      <pc:sldChg chg="modSp add del mod ord">
        <pc:chgData name="Brian Vad Mathiesen" userId="8a78f856-4b15-4561-8b43-ae1e886d028a" providerId="ADAL" clId="{C28C5F6A-EC42-4D31-B902-557188BEE065}" dt="2022-05-04T14:51:38.652" v="585" actId="2696"/>
        <pc:sldMkLst>
          <pc:docMk/>
          <pc:sldMk cId="2531251015" sldId="917"/>
        </pc:sldMkLst>
        <pc:spChg chg="mod">
          <ac:chgData name="Brian Vad Mathiesen" userId="8a78f856-4b15-4561-8b43-ae1e886d028a" providerId="ADAL" clId="{C28C5F6A-EC42-4D31-B902-557188BEE065}" dt="2022-05-04T11:55:31.516" v="6" actId="27636"/>
          <ac:spMkLst>
            <pc:docMk/>
            <pc:sldMk cId="2531251015" sldId="917"/>
            <ac:spMk id="2" creationId="{F4F9CC0A-8B54-4865-8A8E-24A54EC86F5E}"/>
          </ac:spMkLst>
        </pc:spChg>
      </pc:sldChg>
      <pc:sldChg chg="add del">
        <pc:chgData name="Brian Vad Mathiesen" userId="8a78f856-4b15-4561-8b43-ae1e886d028a" providerId="ADAL" clId="{C28C5F6A-EC42-4D31-B902-557188BEE065}" dt="2022-05-04T14:52:40.039" v="595" actId="47"/>
        <pc:sldMkLst>
          <pc:docMk/>
          <pc:sldMk cId="3844771054" sldId="917"/>
        </pc:sldMkLst>
      </pc:sldChg>
      <pc:sldChg chg="modSp add del mod ord">
        <pc:chgData name="Brian Vad Mathiesen" userId="8a78f856-4b15-4561-8b43-ae1e886d028a" providerId="ADAL" clId="{C28C5F6A-EC42-4D31-B902-557188BEE065}" dt="2022-05-04T14:56:52.769" v="657" actId="47"/>
        <pc:sldMkLst>
          <pc:docMk/>
          <pc:sldMk cId="757034039" sldId="918"/>
        </pc:sldMkLst>
        <pc:spChg chg="mod">
          <ac:chgData name="Brian Vad Mathiesen" userId="8a78f856-4b15-4561-8b43-ae1e886d028a" providerId="ADAL" clId="{C28C5F6A-EC42-4D31-B902-557188BEE065}" dt="2022-05-04T13:24:21.635" v="115" actId="20577"/>
          <ac:spMkLst>
            <pc:docMk/>
            <pc:sldMk cId="757034039" sldId="918"/>
            <ac:spMk id="2" creationId="{F4F9CC0A-8B54-4865-8A8E-24A54EC86F5E}"/>
          </ac:spMkLst>
        </pc:spChg>
      </pc:sldChg>
      <pc:sldChg chg="modSp add mod ord">
        <pc:chgData name="Brian Vad Mathiesen" userId="8a78f856-4b15-4561-8b43-ae1e886d028a" providerId="ADAL" clId="{C28C5F6A-EC42-4D31-B902-557188BEE065}" dt="2022-05-04T15:02:02.474" v="691"/>
        <pc:sldMkLst>
          <pc:docMk/>
          <pc:sldMk cId="4223103825" sldId="919"/>
        </pc:sldMkLst>
        <pc:spChg chg="mod">
          <ac:chgData name="Brian Vad Mathiesen" userId="8a78f856-4b15-4561-8b43-ae1e886d028a" providerId="ADAL" clId="{C28C5F6A-EC42-4D31-B902-557188BEE065}" dt="2022-05-04T13:18:36.399" v="28" actId="1076"/>
          <ac:spMkLst>
            <pc:docMk/>
            <pc:sldMk cId="4223103825" sldId="919"/>
            <ac:spMk id="2" creationId="{90159300-AB01-4032-8782-8B4D7A9A3D1A}"/>
          </ac:spMkLst>
        </pc:spChg>
        <pc:spChg chg="mod">
          <ac:chgData name="Brian Vad Mathiesen" userId="8a78f856-4b15-4561-8b43-ae1e886d028a" providerId="ADAL" clId="{C28C5F6A-EC42-4D31-B902-557188BEE065}" dt="2022-05-04T13:18:40.382" v="30" actId="1076"/>
          <ac:spMkLst>
            <pc:docMk/>
            <pc:sldMk cId="4223103825" sldId="919"/>
            <ac:spMk id="10" creationId="{5BB4B480-E064-415F-B649-7C2084555800}"/>
          </ac:spMkLst>
        </pc:spChg>
        <pc:picChg chg="mod">
          <ac:chgData name="Brian Vad Mathiesen" userId="8a78f856-4b15-4561-8b43-ae1e886d028a" providerId="ADAL" clId="{C28C5F6A-EC42-4D31-B902-557188BEE065}" dt="2022-05-04T13:18:31.078" v="26" actId="1076"/>
          <ac:picMkLst>
            <pc:docMk/>
            <pc:sldMk cId="4223103825" sldId="919"/>
            <ac:picMk id="7" creationId="{5123BB40-1258-45A0-A84B-30F058F654F0}"/>
          </ac:picMkLst>
        </pc:picChg>
        <pc:picChg chg="mod">
          <ac:chgData name="Brian Vad Mathiesen" userId="8a78f856-4b15-4561-8b43-ae1e886d028a" providerId="ADAL" clId="{C28C5F6A-EC42-4D31-B902-557188BEE065}" dt="2022-05-04T13:18:37.535" v="29" actId="1076"/>
          <ac:picMkLst>
            <pc:docMk/>
            <pc:sldMk cId="4223103825" sldId="919"/>
            <ac:picMk id="9" creationId="{838E1796-27CB-4864-BBBC-B27C61E74B2D}"/>
          </ac:picMkLst>
        </pc:picChg>
      </pc:sldChg>
      <pc:sldChg chg="delSp add del">
        <pc:chgData name="Brian Vad Mathiesen" userId="8a78f856-4b15-4561-8b43-ae1e886d028a" providerId="ADAL" clId="{C28C5F6A-EC42-4D31-B902-557188BEE065}" dt="2022-05-04T14:54:19.372" v="628" actId="47"/>
        <pc:sldMkLst>
          <pc:docMk/>
          <pc:sldMk cId="2935630458" sldId="920"/>
        </pc:sldMkLst>
        <pc:picChg chg="del">
          <ac:chgData name="Brian Vad Mathiesen" userId="8a78f856-4b15-4561-8b43-ae1e886d028a" providerId="ADAL" clId="{C28C5F6A-EC42-4D31-B902-557188BEE065}" dt="2022-05-04T14:53:09.523" v="612" actId="21"/>
          <ac:picMkLst>
            <pc:docMk/>
            <pc:sldMk cId="2935630458" sldId="920"/>
            <ac:picMk id="8194" creationId="{4BA31362-3E1C-4FA8-AC0A-DD93F9FAC305}"/>
          </ac:picMkLst>
        </pc:picChg>
      </pc:sldChg>
      <pc:sldChg chg="addSp delSp new del mod">
        <pc:chgData name="Brian Vad Mathiesen" userId="8a78f856-4b15-4561-8b43-ae1e886d028a" providerId="ADAL" clId="{C28C5F6A-EC42-4D31-B902-557188BEE065}" dt="2022-05-04T14:51:38.652" v="585" actId="2696"/>
        <pc:sldMkLst>
          <pc:docMk/>
          <pc:sldMk cId="4002832786" sldId="920"/>
        </pc:sldMkLst>
        <pc:spChg chg="del">
          <ac:chgData name="Brian Vad Mathiesen" userId="8a78f856-4b15-4561-8b43-ae1e886d028a" providerId="ADAL" clId="{C28C5F6A-EC42-4D31-B902-557188BEE065}" dt="2022-05-04T13:24:40.395" v="117" actId="478"/>
          <ac:spMkLst>
            <pc:docMk/>
            <pc:sldMk cId="4002832786" sldId="920"/>
            <ac:spMk id="3" creationId="{4F0B563D-FDAE-4512-A2B7-B8D019D78EFD}"/>
          </ac:spMkLst>
        </pc:spChg>
        <pc:picChg chg="add">
          <ac:chgData name="Brian Vad Mathiesen" userId="8a78f856-4b15-4561-8b43-ae1e886d028a" providerId="ADAL" clId="{C28C5F6A-EC42-4D31-B902-557188BEE065}" dt="2022-05-04T13:24:41.412" v="118"/>
          <ac:picMkLst>
            <pc:docMk/>
            <pc:sldMk cId="4002832786" sldId="920"/>
            <ac:picMk id="8194" creationId="{4BA31362-3E1C-4FA8-AC0A-DD93F9FAC305}"/>
          </ac:picMkLst>
        </pc:picChg>
      </pc:sldChg>
      <pc:sldChg chg="new del">
        <pc:chgData name="Brian Vad Mathiesen" userId="8a78f856-4b15-4561-8b43-ae1e886d028a" providerId="ADAL" clId="{C28C5F6A-EC42-4D31-B902-557188BEE065}" dt="2022-05-04T13:25:26.241" v="124" actId="47"/>
        <pc:sldMkLst>
          <pc:docMk/>
          <pc:sldMk cId="3384886225" sldId="921"/>
        </pc:sldMkLst>
      </pc:sldChg>
      <pc:sldChg chg="delSp add del">
        <pc:chgData name="Brian Vad Mathiesen" userId="8a78f856-4b15-4561-8b43-ae1e886d028a" providerId="ADAL" clId="{C28C5F6A-EC42-4D31-B902-557188BEE065}" dt="2022-05-04T14:54:18.737" v="627" actId="47"/>
        <pc:sldMkLst>
          <pc:docMk/>
          <pc:sldMk cId="3502360570" sldId="922"/>
        </pc:sldMkLst>
        <pc:picChg chg="del">
          <ac:chgData name="Brian Vad Mathiesen" userId="8a78f856-4b15-4561-8b43-ae1e886d028a" providerId="ADAL" clId="{C28C5F6A-EC42-4D31-B902-557188BEE065}" dt="2022-05-04T14:52:00.821" v="589" actId="21"/>
          <ac:picMkLst>
            <pc:docMk/>
            <pc:sldMk cId="3502360570" sldId="922"/>
            <ac:picMk id="9218" creationId="{334FF7E8-1865-464B-B1B3-1F250CBC8C22}"/>
          </ac:picMkLst>
        </pc:picChg>
      </pc:sldChg>
      <pc:sldChg chg="addSp new del ord">
        <pc:chgData name="Brian Vad Mathiesen" userId="8a78f856-4b15-4561-8b43-ae1e886d028a" providerId="ADAL" clId="{C28C5F6A-EC42-4D31-B902-557188BEE065}" dt="2022-05-04T14:51:38.652" v="585" actId="2696"/>
        <pc:sldMkLst>
          <pc:docMk/>
          <pc:sldMk cId="3889419259" sldId="922"/>
        </pc:sldMkLst>
        <pc:picChg chg="add">
          <ac:chgData name="Brian Vad Mathiesen" userId="8a78f856-4b15-4561-8b43-ae1e886d028a" providerId="ADAL" clId="{C28C5F6A-EC42-4D31-B902-557188BEE065}" dt="2022-05-04T13:25:22.750" v="121"/>
          <ac:picMkLst>
            <pc:docMk/>
            <pc:sldMk cId="3889419259" sldId="922"/>
            <ac:picMk id="9218" creationId="{334FF7E8-1865-464B-B1B3-1F250CBC8C22}"/>
          </ac:picMkLst>
        </pc:picChg>
      </pc:sldChg>
      <pc:sldChg chg="addSp delSp modSp add">
        <pc:chgData name="Brian Vad Mathiesen" userId="8a78f856-4b15-4561-8b43-ae1e886d028a" providerId="ADAL" clId="{C28C5F6A-EC42-4D31-B902-557188BEE065}" dt="2022-05-04T15:01:20.933" v="689"/>
        <pc:sldMkLst>
          <pc:docMk/>
          <pc:sldMk cId="2017979219" sldId="923"/>
        </pc:sldMkLst>
        <pc:picChg chg="add del mod">
          <ac:chgData name="Brian Vad Mathiesen" userId="8a78f856-4b15-4561-8b43-ae1e886d028a" providerId="ADAL" clId="{C28C5F6A-EC42-4D31-B902-557188BEE065}" dt="2022-05-04T15:01:20.933" v="689"/>
          <ac:picMkLst>
            <pc:docMk/>
            <pc:sldMk cId="2017979219" sldId="923"/>
            <ac:picMk id="8" creationId="{B2A66284-05D6-46AA-BD70-5D7B1DFDDF9E}"/>
          </ac:picMkLst>
        </pc:picChg>
      </pc:sldChg>
      <pc:sldChg chg="addSp delSp modSp add mod ord">
        <pc:chgData name="Brian Vad Mathiesen" userId="8a78f856-4b15-4561-8b43-ae1e886d028a" providerId="ADAL" clId="{C28C5F6A-EC42-4D31-B902-557188BEE065}" dt="2022-05-04T14:50:04.204" v="570"/>
        <pc:sldMkLst>
          <pc:docMk/>
          <pc:sldMk cId="3697528285" sldId="924"/>
        </pc:sldMkLst>
        <pc:spChg chg="del">
          <ac:chgData name="Brian Vad Mathiesen" userId="8a78f856-4b15-4561-8b43-ae1e886d028a" providerId="ADAL" clId="{C28C5F6A-EC42-4D31-B902-557188BEE065}" dt="2022-05-04T13:45:21.834" v="138" actId="478"/>
          <ac:spMkLst>
            <pc:docMk/>
            <pc:sldMk cId="3697528285" sldId="924"/>
            <ac:spMk id="2" creationId="{9635DCBF-C5EB-4604-8501-A2C8139E30C1}"/>
          </ac:spMkLst>
        </pc:spChg>
        <pc:spChg chg="del">
          <ac:chgData name="Brian Vad Mathiesen" userId="8a78f856-4b15-4561-8b43-ae1e886d028a" providerId="ADAL" clId="{C28C5F6A-EC42-4D31-B902-557188BEE065}" dt="2022-05-04T13:45:26.771" v="140" actId="478"/>
          <ac:spMkLst>
            <pc:docMk/>
            <pc:sldMk cId="3697528285" sldId="924"/>
            <ac:spMk id="3" creationId="{CA162A85-9C1A-4EF9-910C-8D22FC4694D4}"/>
          </ac:spMkLst>
        </pc:spChg>
        <pc:spChg chg="add del mod">
          <ac:chgData name="Brian Vad Mathiesen" userId="8a78f856-4b15-4561-8b43-ae1e886d028a" providerId="ADAL" clId="{C28C5F6A-EC42-4D31-B902-557188BEE065}" dt="2022-05-04T13:45:24.293" v="139" actId="478"/>
          <ac:spMkLst>
            <pc:docMk/>
            <pc:sldMk cId="3697528285" sldId="924"/>
            <ac:spMk id="5" creationId="{26EEA7BF-7E09-473E-8974-FBBD8A60EFA8}"/>
          </ac:spMkLst>
        </pc:spChg>
        <pc:spChg chg="add del mod">
          <ac:chgData name="Brian Vad Mathiesen" userId="8a78f856-4b15-4561-8b43-ae1e886d028a" providerId="ADAL" clId="{C28C5F6A-EC42-4D31-B902-557188BEE065}" dt="2022-05-04T13:45:30.612" v="143" actId="478"/>
          <ac:spMkLst>
            <pc:docMk/>
            <pc:sldMk cId="3697528285" sldId="924"/>
            <ac:spMk id="7" creationId="{86B29321-C139-45EF-BC99-22B619AAE8DD}"/>
          </ac:spMkLst>
        </pc:spChg>
        <pc:picChg chg="del">
          <ac:chgData name="Brian Vad Mathiesen" userId="8a78f856-4b15-4561-8b43-ae1e886d028a" providerId="ADAL" clId="{C28C5F6A-EC42-4D31-B902-557188BEE065}" dt="2022-05-04T13:45:29.998" v="142" actId="478"/>
          <ac:picMkLst>
            <pc:docMk/>
            <pc:sldMk cId="3697528285" sldId="924"/>
            <ac:picMk id="1026" creationId="{2AE52F11-E9D1-4E80-B01D-863099994F9A}"/>
          </ac:picMkLst>
        </pc:picChg>
        <pc:picChg chg="del">
          <ac:chgData name="Brian Vad Mathiesen" userId="8a78f856-4b15-4561-8b43-ae1e886d028a" providerId="ADAL" clId="{C28C5F6A-EC42-4D31-B902-557188BEE065}" dt="2022-05-04T13:45:29.266" v="141" actId="478"/>
          <ac:picMkLst>
            <pc:docMk/>
            <pc:sldMk cId="3697528285" sldId="924"/>
            <ac:picMk id="1028" creationId="{4D12F0AC-0451-4EBB-BFCE-977BF08A0C15}"/>
          </ac:picMkLst>
        </pc:picChg>
        <pc:picChg chg="add mod">
          <ac:chgData name="Brian Vad Mathiesen" userId="8a78f856-4b15-4561-8b43-ae1e886d028a" providerId="ADAL" clId="{C28C5F6A-EC42-4D31-B902-557188BEE065}" dt="2022-05-04T13:50:37.549" v="150" actId="1076"/>
          <ac:picMkLst>
            <pc:docMk/>
            <pc:sldMk cId="3697528285" sldId="924"/>
            <ac:picMk id="10242" creationId="{6277A104-FD99-4EDE-9BA2-4F2C8AA5CC6C}"/>
          </ac:picMkLst>
        </pc:picChg>
        <pc:picChg chg="mod">
          <ac:chgData name="Brian Vad Mathiesen" userId="8a78f856-4b15-4561-8b43-ae1e886d028a" providerId="ADAL" clId="{C28C5F6A-EC42-4D31-B902-557188BEE065}" dt="2022-05-04T13:50:48.892" v="154" actId="14100"/>
          <ac:picMkLst>
            <pc:docMk/>
            <pc:sldMk cId="3697528285" sldId="924"/>
            <ac:picMk id="13314" creationId="{684972F1-9C12-4BB4-B95C-FD4FCEF60DDA}"/>
          </ac:picMkLst>
        </pc:picChg>
      </pc:sldChg>
      <pc:sldChg chg="addSp delSp new del mod">
        <pc:chgData name="Brian Vad Mathiesen" userId="8a78f856-4b15-4561-8b43-ae1e886d028a" providerId="ADAL" clId="{C28C5F6A-EC42-4D31-B902-557188BEE065}" dt="2022-05-04T14:51:05.524" v="583" actId="2696"/>
        <pc:sldMkLst>
          <pc:docMk/>
          <pc:sldMk cId="1620466626" sldId="925"/>
        </pc:sldMkLst>
        <pc:spChg chg="del">
          <ac:chgData name="Brian Vad Mathiesen" userId="8a78f856-4b15-4561-8b43-ae1e886d028a" providerId="ADAL" clId="{C28C5F6A-EC42-4D31-B902-557188BEE065}" dt="2022-05-04T13:55:40.265" v="162" actId="478"/>
          <ac:spMkLst>
            <pc:docMk/>
            <pc:sldMk cId="1620466626" sldId="925"/>
            <ac:spMk id="2" creationId="{E3E15EE8-ABE2-4B4D-82CC-C87ACFCFB451}"/>
          </ac:spMkLst>
        </pc:spChg>
        <pc:spChg chg="del">
          <ac:chgData name="Brian Vad Mathiesen" userId="8a78f856-4b15-4561-8b43-ae1e886d028a" providerId="ADAL" clId="{C28C5F6A-EC42-4D31-B902-557188BEE065}" dt="2022-05-04T13:55:35.396" v="161" actId="478"/>
          <ac:spMkLst>
            <pc:docMk/>
            <pc:sldMk cId="1620466626" sldId="925"/>
            <ac:spMk id="3" creationId="{9951BCC1-A96D-4B49-BA89-E645C5A0A739}"/>
          </ac:spMkLst>
        </pc:spChg>
        <pc:picChg chg="add">
          <ac:chgData name="Brian Vad Mathiesen" userId="8a78f856-4b15-4561-8b43-ae1e886d028a" providerId="ADAL" clId="{C28C5F6A-EC42-4D31-B902-557188BEE065}" dt="2022-05-04T13:55:42.362" v="163"/>
          <ac:picMkLst>
            <pc:docMk/>
            <pc:sldMk cId="1620466626" sldId="925"/>
            <ac:picMk id="11266" creationId="{2B03D02D-E1E1-4512-9CFA-B53AF2785A48}"/>
          </ac:picMkLst>
        </pc:picChg>
      </pc:sldChg>
      <pc:sldChg chg="add">
        <pc:chgData name="Brian Vad Mathiesen" userId="8a78f856-4b15-4561-8b43-ae1e886d028a" providerId="ADAL" clId="{C28C5F6A-EC42-4D31-B902-557188BEE065}" dt="2022-05-04T14:51:08.623" v="584"/>
        <pc:sldMkLst>
          <pc:docMk/>
          <pc:sldMk cId="4249047683" sldId="925"/>
        </pc:sldMkLst>
      </pc:sldChg>
      <pc:sldChg chg="add del ord">
        <pc:chgData name="Brian Vad Mathiesen" userId="8a78f856-4b15-4561-8b43-ae1e886d028a" providerId="ADAL" clId="{C28C5F6A-EC42-4D31-B902-557188BEE065}" dt="2022-05-04T14:49:52.704" v="568" actId="47"/>
        <pc:sldMkLst>
          <pc:docMk/>
          <pc:sldMk cId="2811790858" sldId="926"/>
        </pc:sldMkLst>
      </pc:sldChg>
      <pc:sldChg chg="addSp delSp modSp new mod">
        <pc:chgData name="Brian Vad Mathiesen" userId="8a78f856-4b15-4561-8b43-ae1e886d028a" providerId="ADAL" clId="{C28C5F6A-EC42-4D31-B902-557188BEE065}" dt="2022-05-04T14:06:33.401" v="410" actId="1076"/>
        <pc:sldMkLst>
          <pc:docMk/>
          <pc:sldMk cId="4055645132" sldId="927"/>
        </pc:sldMkLst>
        <pc:spChg chg="del">
          <ac:chgData name="Brian Vad Mathiesen" userId="8a78f856-4b15-4561-8b43-ae1e886d028a" providerId="ADAL" clId="{C28C5F6A-EC42-4D31-B902-557188BEE065}" dt="2022-05-04T14:02:33.984" v="308" actId="478"/>
          <ac:spMkLst>
            <pc:docMk/>
            <pc:sldMk cId="4055645132" sldId="927"/>
            <ac:spMk id="2" creationId="{44AE2B9F-E8B6-4BEA-B5B2-623DC06B69EC}"/>
          </ac:spMkLst>
        </pc:spChg>
        <pc:spChg chg="del">
          <ac:chgData name="Brian Vad Mathiesen" userId="8a78f856-4b15-4561-8b43-ae1e886d028a" providerId="ADAL" clId="{C28C5F6A-EC42-4D31-B902-557188BEE065}" dt="2022-05-04T14:02:35.207" v="309" actId="478"/>
          <ac:spMkLst>
            <pc:docMk/>
            <pc:sldMk cId="4055645132" sldId="927"/>
            <ac:spMk id="3" creationId="{196E57B9-F88D-4AFE-AE30-7C9A3001B943}"/>
          </ac:spMkLst>
        </pc:spChg>
        <pc:spChg chg="add mod">
          <ac:chgData name="Brian Vad Mathiesen" userId="8a78f856-4b15-4561-8b43-ae1e886d028a" providerId="ADAL" clId="{C28C5F6A-EC42-4D31-B902-557188BEE065}" dt="2022-05-04T14:06:01.535" v="405" actId="1076"/>
          <ac:spMkLst>
            <pc:docMk/>
            <pc:sldMk cId="4055645132" sldId="927"/>
            <ac:spMk id="4" creationId="{E46D5CD6-B627-4B38-AEC2-B5FB4AAF39DE}"/>
          </ac:spMkLst>
        </pc:spChg>
        <pc:picChg chg="add mod">
          <ac:chgData name="Brian Vad Mathiesen" userId="8a78f856-4b15-4561-8b43-ae1e886d028a" providerId="ADAL" clId="{C28C5F6A-EC42-4D31-B902-557188BEE065}" dt="2022-05-04T14:06:33.401" v="410" actId="1076"/>
          <ac:picMkLst>
            <pc:docMk/>
            <pc:sldMk cId="4055645132" sldId="927"/>
            <ac:picMk id="5" creationId="{DB7F7E29-D69A-4F8B-AEF1-209DE77D1347}"/>
          </ac:picMkLst>
        </pc:picChg>
        <pc:picChg chg="add mod">
          <ac:chgData name="Brian Vad Mathiesen" userId="8a78f856-4b15-4561-8b43-ae1e886d028a" providerId="ADAL" clId="{C28C5F6A-EC42-4D31-B902-557188BEE065}" dt="2022-05-04T14:05:58.699" v="404" actId="1076"/>
          <ac:picMkLst>
            <pc:docMk/>
            <pc:sldMk cId="4055645132" sldId="927"/>
            <ac:picMk id="6" creationId="{2894CFED-14FE-4356-8BBC-5464CA6ACF93}"/>
          </ac:picMkLst>
        </pc:picChg>
        <pc:picChg chg="add mod">
          <ac:chgData name="Brian Vad Mathiesen" userId="8a78f856-4b15-4561-8b43-ae1e886d028a" providerId="ADAL" clId="{C28C5F6A-EC42-4D31-B902-557188BEE065}" dt="2022-05-04T14:06:30.863" v="409" actId="1076"/>
          <ac:picMkLst>
            <pc:docMk/>
            <pc:sldMk cId="4055645132" sldId="927"/>
            <ac:picMk id="8" creationId="{EF94B078-591E-481F-B08B-7AD5F357C85C}"/>
          </ac:picMkLst>
        </pc:picChg>
        <pc:picChg chg="add del mod">
          <ac:chgData name="Brian Vad Mathiesen" userId="8a78f856-4b15-4561-8b43-ae1e886d028a" providerId="ADAL" clId="{C28C5F6A-EC42-4D31-B902-557188BEE065}" dt="2022-05-04T14:03:02.289" v="316" actId="478"/>
          <ac:picMkLst>
            <pc:docMk/>
            <pc:sldMk cId="4055645132" sldId="927"/>
            <ac:picMk id="12290" creationId="{6725422B-27FC-4E20-B1FB-4F01BEB65764}"/>
          </ac:picMkLst>
        </pc:picChg>
      </pc:sldChg>
      <pc:sldChg chg="addSp delSp modSp new mod setBg">
        <pc:chgData name="Brian Vad Mathiesen" userId="8a78f856-4b15-4561-8b43-ae1e886d028a" providerId="ADAL" clId="{C28C5F6A-EC42-4D31-B902-557188BEE065}" dt="2022-05-04T14:44:37.665" v="508" actId="1076"/>
        <pc:sldMkLst>
          <pc:docMk/>
          <pc:sldMk cId="1405684099" sldId="928"/>
        </pc:sldMkLst>
        <pc:spChg chg="add del">
          <ac:chgData name="Brian Vad Mathiesen" userId="8a78f856-4b15-4561-8b43-ae1e886d028a" providerId="ADAL" clId="{C28C5F6A-EC42-4D31-B902-557188BEE065}" dt="2022-05-04T14:44:25.153" v="501" actId="478"/>
          <ac:spMkLst>
            <pc:docMk/>
            <pc:sldMk cId="1405684099" sldId="928"/>
            <ac:spMk id="2" creationId="{E68B1B0F-482F-47BA-A292-FFA7B7BEBA80}"/>
          </ac:spMkLst>
        </pc:spChg>
        <pc:spChg chg="del">
          <ac:chgData name="Brian Vad Mathiesen" userId="8a78f856-4b15-4561-8b43-ae1e886d028a" providerId="ADAL" clId="{C28C5F6A-EC42-4D31-B902-557188BEE065}" dt="2022-05-04T14:31:59.865" v="412"/>
          <ac:spMkLst>
            <pc:docMk/>
            <pc:sldMk cId="1405684099" sldId="928"/>
            <ac:spMk id="3" creationId="{4B3E84C1-10A7-44F7-BEB1-2804EF378855}"/>
          </ac:spMkLst>
        </pc:spChg>
        <pc:spChg chg="add del mod">
          <ac:chgData name="Brian Vad Mathiesen" userId="8a78f856-4b15-4561-8b43-ae1e886d028a" providerId="ADAL" clId="{C28C5F6A-EC42-4D31-B902-557188BEE065}" dt="2022-05-04T14:44:22.841" v="499" actId="478"/>
          <ac:spMkLst>
            <pc:docMk/>
            <pc:sldMk cId="1405684099" sldId="928"/>
            <ac:spMk id="4" creationId="{F4E04A29-BF62-47C0-B37C-A2F737220E65}"/>
          </ac:spMkLst>
        </pc:spChg>
        <pc:spChg chg="add mod">
          <ac:chgData name="Brian Vad Mathiesen" userId="8a78f856-4b15-4561-8b43-ae1e886d028a" providerId="ADAL" clId="{C28C5F6A-EC42-4D31-B902-557188BEE065}" dt="2022-05-04T14:44:37.665" v="508" actId="1076"/>
          <ac:spMkLst>
            <pc:docMk/>
            <pc:sldMk cId="1405684099" sldId="928"/>
            <ac:spMk id="11" creationId="{B7C8D22A-0FF1-466A-BDDA-E357F5DE78EB}"/>
          </ac:spMkLst>
        </pc:spChg>
        <pc:spChg chg="add del">
          <ac:chgData name="Brian Vad Mathiesen" userId="8a78f856-4b15-4561-8b43-ae1e886d028a" providerId="ADAL" clId="{C28C5F6A-EC42-4D31-B902-557188BEE065}" dt="2022-05-04T14:32:06.675" v="414" actId="26606"/>
          <ac:spMkLst>
            <pc:docMk/>
            <pc:sldMk cId="1405684099" sldId="928"/>
            <ac:spMk id="71" creationId="{32BC26D8-82FB-445E-AA49-62A77D7C1EE0}"/>
          </ac:spMkLst>
        </pc:spChg>
        <pc:spChg chg="add del">
          <ac:chgData name="Brian Vad Mathiesen" userId="8a78f856-4b15-4561-8b43-ae1e886d028a" providerId="ADAL" clId="{C28C5F6A-EC42-4D31-B902-557188BEE065}" dt="2022-05-04T14:32:06.675" v="414" actId="26606"/>
          <ac:spMkLst>
            <pc:docMk/>
            <pc:sldMk cId="1405684099" sldId="928"/>
            <ac:spMk id="73" creationId="{CB44330D-EA18-4254-AA95-EB49948539B8}"/>
          </ac:spMkLst>
        </pc:spChg>
        <pc:picChg chg="add mod">
          <ac:chgData name="Brian Vad Mathiesen" userId="8a78f856-4b15-4561-8b43-ae1e886d028a" providerId="ADAL" clId="{C28C5F6A-EC42-4D31-B902-557188BEE065}" dt="2022-05-04T14:44:34.890" v="507" actId="1076"/>
          <ac:picMkLst>
            <pc:docMk/>
            <pc:sldMk cId="1405684099" sldId="928"/>
            <ac:picMk id="6" creationId="{E387D0BD-DB6E-450F-9518-C4CAF90BEA24}"/>
          </ac:picMkLst>
        </pc:picChg>
        <pc:picChg chg="add del mod">
          <ac:chgData name="Brian Vad Mathiesen" userId="8a78f856-4b15-4561-8b43-ae1e886d028a" providerId="ADAL" clId="{C28C5F6A-EC42-4D31-B902-557188BEE065}" dt="2022-05-04T14:32:24.047" v="415" actId="478"/>
          <ac:picMkLst>
            <pc:docMk/>
            <pc:sldMk cId="1405684099" sldId="928"/>
            <ac:picMk id="13314" creationId="{1EF64A01-2DA6-4ABF-8B08-A9DD3B27B750}"/>
          </ac:picMkLst>
        </pc:picChg>
        <pc:picChg chg="add del mod">
          <ac:chgData name="Brian Vad Mathiesen" userId="8a78f856-4b15-4561-8b43-ae1e886d028a" providerId="ADAL" clId="{C28C5F6A-EC42-4D31-B902-557188BEE065}" dt="2022-05-04T14:32:29.958" v="419" actId="478"/>
          <ac:picMkLst>
            <pc:docMk/>
            <pc:sldMk cId="1405684099" sldId="928"/>
            <ac:picMk id="13316" creationId="{34526CC7-1D1A-4DD4-A0AC-088B25EEA582}"/>
          </ac:picMkLst>
        </pc:picChg>
      </pc:sldChg>
      <pc:sldChg chg="addSp delSp modSp new mod ord">
        <pc:chgData name="Brian Vad Mathiesen" userId="8a78f856-4b15-4561-8b43-ae1e886d028a" providerId="ADAL" clId="{C28C5F6A-EC42-4D31-B902-557188BEE065}" dt="2022-05-04T14:53:20.567" v="616" actId="14100"/>
        <pc:sldMkLst>
          <pc:docMk/>
          <pc:sldMk cId="4232762214" sldId="929"/>
        </pc:sldMkLst>
        <pc:spChg chg="del">
          <ac:chgData name="Brian Vad Mathiesen" userId="8a78f856-4b15-4561-8b43-ae1e886d028a" providerId="ADAL" clId="{C28C5F6A-EC42-4D31-B902-557188BEE065}" dt="2022-05-04T14:44:50.713" v="510" actId="478"/>
          <ac:spMkLst>
            <pc:docMk/>
            <pc:sldMk cId="4232762214" sldId="929"/>
            <ac:spMk id="2" creationId="{1A4058FE-4171-421B-B06B-D3B15045952A}"/>
          </ac:spMkLst>
        </pc:spChg>
        <pc:spChg chg="del">
          <ac:chgData name="Brian Vad Mathiesen" userId="8a78f856-4b15-4561-8b43-ae1e886d028a" providerId="ADAL" clId="{C28C5F6A-EC42-4D31-B902-557188BEE065}" dt="2022-05-04T14:34:44.049" v="422" actId="478"/>
          <ac:spMkLst>
            <pc:docMk/>
            <pc:sldMk cId="4232762214" sldId="929"/>
            <ac:spMk id="3" creationId="{6893F09D-4646-4AC1-9EEF-95936332CC6B}"/>
          </ac:spMkLst>
        </pc:spChg>
        <pc:spChg chg="add mod">
          <ac:chgData name="Brian Vad Mathiesen" userId="8a78f856-4b15-4561-8b43-ae1e886d028a" providerId="ADAL" clId="{C28C5F6A-EC42-4D31-B902-557188BEE065}" dt="2022-05-04T14:45:03.812" v="515" actId="1076"/>
          <ac:spMkLst>
            <pc:docMk/>
            <pc:sldMk cId="4232762214" sldId="929"/>
            <ac:spMk id="6" creationId="{84D7F13F-43D6-4D3B-B4E2-41360DAFF659}"/>
          </ac:spMkLst>
        </pc:spChg>
        <pc:spChg chg="add mod">
          <ac:chgData name="Brian Vad Mathiesen" userId="8a78f856-4b15-4561-8b43-ae1e886d028a" providerId="ADAL" clId="{C28C5F6A-EC42-4D31-B902-557188BEE065}" dt="2022-05-04T14:44:54.251" v="511"/>
          <ac:spMkLst>
            <pc:docMk/>
            <pc:sldMk cId="4232762214" sldId="929"/>
            <ac:spMk id="7" creationId="{5319F6AC-0927-4214-A513-BEF3D2756AC9}"/>
          </ac:spMkLst>
        </pc:spChg>
        <pc:picChg chg="add del mod">
          <ac:chgData name="Brian Vad Mathiesen" userId="8a78f856-4b15-4561-8b43-ae1e886d028a" providerId="ADAL" clId="{C28C5F6A-EC42-4D31-B902-557188BEE065}" dt="2022-05-04T14:52:42.275" v="596" actId="21"/>
          <ac:picMkLst>
            <pc:docMk/>
            <pc:sldMk cId="4232762214" sldId="929"/>
            <ac:picMk id="8" creationId="{7FCB239E-5B03-40D2-9AB6-EF7B7B2CFB15}"/>
          </ac:picMkLst>
        </pc:picChg>
        <pc:picChg chg="add del mod">
          <ac:chgData name="Brian Vad Mathiesen" userId="8a78f856-4b15-4561-8b43-ae1e886d028a" providerId="ADAL" clId="{C28C5F6A-EC42-4D31-B902-557188BEE065}" dt="2022-05-04T14:53:16.235" v="615" actId="21"/>
          <ac:picMkLst>
            <pc:docMk/>
            <pc:sldMk cId="4232762214" sldId="929"/>
            <ac:picMk id="9" creationId="{825F1486-F3B4-4DDB-B8E8-0E3E2730D0D7}"/>
          </ac:picMkLst>
        </pc:picChg>
        <pc:picChg chg="add mod">
          <ac:chgData name="Brian Vad Mathiesen" userId="8a78f856-4b15-4561-8b43-ae1e886d028a" providerId="ADAL" clId="{C28C5F6A-EC42-4D31-B902-557188BEE065}" dt="2022-05-04T14:53:20.567" v="616" actId="14100"/>
          <ac:picMkLst>
            <pc:docMk/>
            <pc:sldMk cId="4232762214" sldId="929"/>
            <ac:picMk id="14338" creationId="{06B1FD9B-8A9B-47DE-B85E-93BEC830E422}"/>
          </ac:picMkLst>
        </pc:picChg>
      </pc:sldChg>
      <pc:sldChg chg="addSp delSp modSp new mod ord">
        <pc:chgData name="Brian Vad Mathiesen" userId="8a78f856-4b15-4561-8b43-ae1e886d028a" providerId="ADAL" clId="{C28C5F6A-EC42-4D31-B902-557188BEE065}" dt="2022-05-04T14:46:05.833" v="554" actId="14100"/>
        <pc:sldMkLst>
          <pc:docMk/>
          <pc:sldMk cId="3286317579" sldId="930"/>
        </pc:sldMkLst>
        <pc:spChg chg="del">
          <ac:chgData name="Brian Vad Mathiesen" userId="8a78f856-4b15-4561-8b43-ae1e886d028a" providerId="ADAL" clId="{C28C5F6A-EC42-4D31-B902-557188BEE065}" dt="2022-05-04T14:45:29.313" v="524" actId="478"/>
          <ac:spMkLst>
            <pc:docMk/>
            <pc:sldMk cId="3286317579" sldId="930"/>
            <ac:spMk id="2" creationId="{68EC0BA8-EB74-410B-A349-6ECD8F7B9F27}"/>
          </ac:spMkLst>
        </pc:spChg>
        <pc:spChg chg="del">
          <ac:chgData name="Brian Vad Mathiesen" userId="8a78f856-4b15-4561-8b43-ae1e886d028a" providerId="ADAL" clId="{C28C5F6A-EC42-4D31-B902-557188BEE065}" dt="2022-05-04T14:45:28.601" v="523" actId="478"/>
          <ac:spMkLst>
            <pc:docMk/>
            <pc:sldMk cId="3286317579" sldId="930"/>
            <ac:spMk id="3" creationId="{18B39291-3C56-4FC6-BBAF-8942097EA32B}"/>
          </ac:spMkLst>
        </pc:spChg>
        <pc:spChg chg="add mod">
          <ac:chgData name="Brian Vad Mathiesen" userId="8a78f856-4b15-4561-8b43-ae1e886d028a" providerId="ADAL" clId="{C28C5F6A-EC42-4D31-B902-557188BEE065}" dt="2022-05-04T14:46:05.833" v="554" actId="14100"/>
          <ac:spMkLst>
            <pc:docMk/>
            <pc:sldMk cId="3286317579" sldId="930"/>
            <ac:spMk id="5" creationId="{1E3B2712-83B7-48A8-894F-673188BB4009}"/>
          </ac:spMkLst>
        </pc:spChg>
        <pc:picChg chg="add mod">
          <ac:chgData name="Brian Vad Mathiesen" userId="8a78f856-4b15-4561-8b43-ae1e886d028a" providerId="ADAL" clId="{C28C5F6A-EC42-4D31-B902-557188BEE065}" dt="2022-05-04T14:45:34.464" v="526" actId="1076"/>
          <ac:picMkLst>
            <pc:docMk/>
            <pc:sldMk cId="3286317579" sldId="930"/>
            <ac:picMk id="15362" creationId="{EC345B81-9B9A-487C-BBCE-FF9A6A1286C3}"/>
          </ac:picMkLst>
        </pc:picChg>
      </pc:sldChg>
      <pc:sldChg chg="addSp delSp modSp new mod ord">
        <pc:chgData name="Brian Vad Mathiesen" userId="8a78f856-4b15-4561-8b43-ae1e886d028a" providerId="ADAL" clId="{C28C5F6A-EC42-4D31-B902-557188BEE065}" dt="2022-05-04T14:54:11.230" v="626" actId="1076"/>
        <pc:sldMkLst>
          <pc:docMk/>
          <pc:sldMk cId="1707366252" sldId="931"/>
        </pc:sldMkLst>
        <pc:spChg chg="del mod">
          <ac:chgData name="Brian Vad Mathiesen" userId="8a78f856-4b15-4561-8b43-ae1e886d028a" providerId="ADAL" clId="{C28C5F6A-EC42-4D31-B902-557188BEE065}" dt="2022-05-04T14:43:33.400" v="476" actId="478"/>
          <ac:spMkLst>
            <pc:docMk/>
            <pc:sldMk cId="1707366252" sldId="931"/>
            <ac:spMk id="2" creationId="{FB46F71E-C0AB-4673-A725-64323C5933E2}"/>
          </ac:spMkLst>
        </pc:spChg>
        <pc:spChg chg="del">
          <ac:chgData name="Brian Vad Mathiesen" userId="8a78f856-4b15-4561-8b43-ae1e886d028a" providerId="ADAL" clId="{C28C5F6A-EC42-4D31-B902-557188BEE065}" dt="2022-05-04T14:43:37.047" v="478" actId="478"/>
          <ac:spMkLst>
            <pc:docMk/>
            <pc:sldMk cId="1707366252" sldId="931"/>
            <ac:spMk id="3" creationId="{84941A70-999A-4A81-968F-369AB6F15487}"/>
          </ac:spMkLst>
        </pc:spChg>
        <pc:spChg chg="add mod">
          <ac:chgData name="Brian Vad Mathiesen" userId="8a78f856-4b15-4561-8b43-ae1e886d028a" providerId="ADAL" clId="{C28C5F6A-EC42-4D31-B902-557188BEE065}" dt="2022-05-04T14:43:16.761" v="464" actId="1076"/>
          <ac:spMkLst>
            <pc:docMk/>
            <pc:sldMk cId="1707366252" sldId="931"/>
            <ac:spMk id="6" creationId="{7ADA1183-1992-4628-A6F7-0E8BF6F29C39}"/>
          </ac:spMkLst>
        </pc:spChg>
        <pc:spChg chg="add del mod">
          <ac:chgData name="Brian Vad Mathiesen" userId="8a78f856-4b15-4561-8b43-ae1e886d028a" providerId="ADAL" clId="{C28C5F6A-EC42-4D31-B902-557188BEE065}" dt="2022-05-04T14:43:35.893" v="477" actId="478"/>
          <ac:spMkLst>
            <pc:docMk/>
            <pc:sldMk cId="1707366252" sldId="931"/>
            <ac:spMk id="7" creationId="{69329878-5C98-462C-B883-19113A03E763}"/>
          </ac:spMkLst>
        </pc:spChg>
        <pc:spChg chg="add mod">
          <ac:chgData name="Brian Vad Mathiesen" userId="8a78f856-4b15-4561-8b43-ae1e886d028a" providerId="ADAL" clId="{C28C5F6A-EC42-4D31-B902-557188BEE065}" dt="2022-05-04T14:44:07.714" v="497" actId="14100"/>
          <ac:spMkLst>
            <pc:docMk/>
            <pc:sldMk cId="1707366252" sldId="931"/>
            <ac:spMk id="9" creationId="{E15AE552-8B5E-4C66-8465-AA2FE27FD2BE}"/>
          </ac:spMkLst>
        </pc:spChg>
        <pc:picChg chg="add mod">
          <ac:chgData name="Brian Vad Mathiesen" userId="8a78f856-4b15-4561-8b43-ae1e886d028a" providerId="ADAL" clId="{C28C5F6A-EC42-4D31-B902-557188BEE065}" dt="2022-05-04T14:54:11.230" v="626" actId="1076"/>
          <ac:picMkLst>
            <pc:docMk/>
            <pc:sldMk cId="1707366252" sldId="931"/>
            <ac:picMk id="10" creationId="{B5052B1D-C3C3-4E03-AD39-E159D7AD89F7}"/>
          </ac:picMkLst>
        </pc:picChg>
        <pc:picChg chg="add mod">
          <ac:chgData name="Brian Vad Mathiesen" userId="8a78f856-4b15-4561-8b43-ae1e886d028a" providerId="ADAL" clId="{C28C5F6A-EC42-4D31-B902-557188BEE065}" dt="2022-05-04T14:54:05.622" v="623" actId="1076"/>
          <ac:picMkLst>
            <pc:docMk/>
            <pc:sldMk cId="1707366252" sldId="931"/>
            <ac:picMk id="16386" creationId="{E0A8C93F-5E33-4E6E-990D-5FAA16113D82}"/>
          </ac:picMkLst>
        </pc:picChg>
      </pc:sldChg>
      <pc:sldChg chg="new del">
        <pc:chgData name="Brian Vad Mathiesen" userId="8a78f856-4b15-4561-8b43-ae1e886d028a" providerId="ADAL" clId="{C28C5F6A-EC42-4D31-B902-557188BEE065}" dt="2022-05-04T15:08:21.388" v="976" actId="47"/>
        <pc:sldMkLst>
          <pc:docMk/>
          <pc:sldMk cId="2172665436" sldId="932"/>
        </pc:sldMkLst>
      </pc:sldChg>
      <pc:sldChg chg="addSp modSp add mod">
        <pc:chgData name="Brian Vad Mathiesen" userId="8a78f856-4b15-4561-8b43-ae1e886d028a" providerId="ADAL" clId="{C28C5F6A-EC42-4D31-B902-557188BEE065}" dt="2022-05-04T15:13:21.915" v="1066"/>
        <pc:sldMkLst>
          <pc:docMk/>
          <pc:sldMk cId="3459640475" sldId="933"/>
        </pc:sldMkLst>
        <pc:spChg chg="mod">
          <ac:chgData name="Brian Vad Mathiesen" userId="8a78f856-4b15-4561-8b43-ae1e886d028a" providerId="ADAL" clId="{C28C5F6A-EC42-4D31-B902-557188BEE065}" dt="2022-05-04T15:03:51.923" v="750" actId="20577"/>
          <ac:spMkLst>
            <pc:docMk/>
            <pc:sldMk cId="3459640475" sldId="933"/>
            <ac:spMk id="3" creationId="{00000000-0000-0000-0000-000000000000}"/>
          </ac:spMkLst>
        </pc:spChg>
        <pc:spChg chg="mod">
          <ac:chgData name="Brian Vad Mathiesen" userId="8a78f856-4b15-4561-8b43-ae1e886d028a" providerId="ADAL" clId="{C28C5F6A-EC42-4D31-B902-557188BEE065}" dt="2022-05-04T15:05:38.006" v="933" actId="5793"/>
          <ac:spMkLst>
            <pc:docMk/>
            <pc:sldMk cId="3459640475" sldId="933"/>
            <ac:spMk id="56" creationId="{00000000-0000-0000-0000-000000000000}"/>
          </ac:spMkLst>
        </pc:spChg>
        <pc:picChg chg="add mod">
          <ac:chgData name="Brian Vad Mathiesen" userId="8a78f856-4b15-4561-8b43-ae1e886d028a" providerId="ADAL" clId="{C28C5F6A-EC42-4D31-B902-557188BEE065}" dt="2022-05-04T15:05:58.234" v="937" actId="1076"/>
          <ac:picMkLst>
            <pc:docMk/>
            <pc:sldMk cId="3459640475" sldId="933"/>
            <ac:picMk id="7" creationId="{21B285C7-3FBF-44AB-88F2-E9FE3B0135E4}"/>
          </ac:picMkLst>
        </pc:picChg>
        <pc:picChg chg="add mod">
          <ac:chgData name="Brian Vad Mathiesen" userId="8a78f856-4b15-4561-8b43-ae1e886d028a" providerId="ADAL" clId="{C28C5F6A-EC42-4D31-B902-557188BEE065}" dt="2022-05-04T15:13:21.915" v="1066"/>
          <ac:picMkLst>
            <pc:docMk/>
            <pc:sldMk cId="3459640475" sldId="933"/>
            <ac:picMk id="8" creationId="{21980A59-4DEF-4F47-80CC-FDE8FBEA8A4D}"/>
          </ac:picMkLst>
        </pc:picChg>
      </pc:sldChg>
      <pc:sldChg chg="addSp delSp modSp add mod delAnim modAnim">
        <pc:chgData name="Brian Vad Mathiesen" userId="8a78f856-4b15-4561-8b43-ae1e886d028a" providerId="ADAL" clId="{C28C5F6A-EC42-4D31-B902-557188BEE065}" dt="2022-05-04T15:21:50.781" v="1183" actId="1076"/>
        <pc:sldMkLst>
          <pc:docMk/>
          <pc:sldMk cId="1578247093" sldId="934"/>
        </pc:sldMkLst>
        <pc:spChg chg="del mod">
          <ac:chgData name="Brian Vad Mathiesen" userId="8a78f856-4b15-4561-8b43-ae1e886d028a" providerId="ADAL" clId="{C28C5F6A-EC42-4D31-B902-557188BEE065}" dt="2022-05-04T15:03:17.496" v="712" actId="478"/>
          <ac:spMkLst>
            <pc:docMk/>
            <pc:sldMk cId="1578247093" sldId="934"/>
            <ac:spMk id="3" creationId="{00000000-0000-0000-0000-000000000000}"/>
          </ac:spMkLst>
        </pc:spChg>
        <pc:spChg chg="del">
          <ac:chgData name="Brian Vad Mathiesen" userId="8a78f856-4b15-4561-8b43-ae1e886d028a" providerId="ADAL" clId="{C28C5F6A-EC42-4D31-B902-557188BEE065}" dt="2022-05-04T15:21:12.121" v="1171" actId="478"/>
          <ac:spMkLst>
            <pc:docMk/>
            <pc:sldMk cId="1578247093" sldId="934"/>
            <ac:spMk id="4" creationId="{00000000-0000-0000-0000-000000000000}"/>
          </ac:spMkLst>
        </pc:spChg>
        <pc:spChg chg="del">
          <ac:chgData name="Brian Vad Mathiesen" userId="8a78f856-4b15-4561-8b43-ae1e886d028a" providerId="ADAL" clId="{C28C5F6A-EC42-4D31-B902-557188BEE065}" dt="2022-05-04T15:21:14.033" v="1172" actId="478"/>
          <ac:spMkLst>
            <pc:docMk/>
            <pc:sldMk cId="1578247093" sldId="934"/>
            <ac:spMk id="5" creationId="{00000000-0000-0000-0000-000000000000}"/>
          </ac:spMkLst>
        </pc:spChg>
        <pc:spChg chg="del">
          <ac:chgData name="Brian Vad Mathiesen" userId="8a78f856-4b15-4561-8b43-ae1e886d028a" providerId="ADAL" clId="{C28C5F6A-EC42-4D31-B902-557188BEE065}" dt="2022-05-04T15:21:15.418" v="1173" actId="478"/>
          <ac:spMkLst>
            <pc:docMk/>
            <pc:sldMk cId="1578247093" sldId="934"/>
            <ac:spMk id="8" creationId="{6F11578C-3B1F-4454-BCFC-DB951A658C39}"/>
          </ac:spMkLst>
        </pc:spChg>
        <pc:spChg chg="del">
          <ac:chgData name="Brian Vad Mathiesen" userId="8a78f856-4b15-4561-8b43-ae1e886d028a" providerId="ADAL" clId="{C28C5F6A-EC42-4D31-B902-557188BEE065}" dt="2022-05-04T15:21:15.418" v="1173" actId="478"/>
          <ac:spMkLst>
            <pc:docMk/>
            <pc:sldMk cId="1578247093" sldId="934"/>
            <ac:spMk id="9" creationId="{A11F1FFB-E9C8-4A32-9BAC-27E7A9459DAC}"/>
          </ac:spMkLst>
        </pc:spChg>
        <pc:spChg chg="del">
          <ac:chgData name="Brian Vad Mathiesen" userId="8a78f856-4b15-4561-8b43-ae1e886d028a" providerId="ADAL" clId="{C28C5F6A-EC42-4D31-B902-557188BEE065}" dt="2022-05-04T15:21:15.418" v="1173" actId="478"/>
          <ac:spMkLst>
            <pc:docMk/>
            <pc:sldMk cId="1578247093" sldId="934"/>
            <ac:spMk id="10" creationId="{9EDCDFF8-04CB-4894-B729-381E03001DFD}"/>
          </ac:spMkLst>
        </pc:spChg>
        <pc:spChg chg="del">
          <ac:chgData name="Brian Vad Mathiesen" userId="8a78f856-4b15-4561-8b43-ae1e886d028a" providerId="ADAL" clId="{C28C5F6A-EC42-4D31-B902-557188BEE065}" dt="2022-05-04T15:21:15.418" v="1173" actId="478"/>
          <ac:spMkLst>
            <pc:docMk/>
            <pc:sldMk cId="1578247093" sldId="934"/>
            <ac:spMk id="11" creationId="{9DAAF559-A0C9-461E-B6CB-C4F39BAE09C5}"/>
          </ac:spMkLst>
        </pc:spChg>
        <pc:spChg chg="del">
          <ac:chgData name="Brian Vad Mathiesen" userId="8a78f856-4b15-4561-8b43-ae1e886d028a" providerId="ADAL" clId="{C28C5F6A-EC42-4D31-B902-557188BEE065}" dt="2022-05-04T15:21:15.418" v="1173" actId="478"/>
          <ac:spMkLst>
            <pc:docMk/>
            <pc:sldMk cId="1578247093" sldId="934"/>
            <ac:spMk id="12" creationId="{3F916B4B-9CC7-48FD-BF0D-B9EEA91E4342}"/>
          </ac:spMkLst>
        </pc:spChg>
        <pc:spChg chg="del">
          <ac:chgData name="Brian Vad Mathiesen" userId="8a78f856-4b15-4561-8b43-ae1e886d028a" providerId="ADAL" clId="{C28C5F6A-EC42-4D31-B902-557188BEE065}" dt="2022-05-04T15:21:15.418" v="1173" actId="478"/>
          <ac:spMkLst>
            <pc:docMk/>
            <pc:sldMk cId="1578247093" sldId="934"/>
            <ac:spMk id="14" creationId="{A57354DE-3DCD-40D7-8BE9-D9479DCC877E}"/>
          </ac:spMkLst>
        </pc:spChg>
        <pc:spChg chg="add del mod">
          <ac:chgData name="Brian Vad Mathiesen" userId="8a78f856-4b15-4561-8b43-ae1e886d028a" providerId="ADAL" clId="{C28C5F6A-EC42-4D31-B902-557188BEE065}" dt="2022-05-04T15:03:19.964" v="713" actId="478"/>
          <ac:spMkLst>
            <pc:docMk/>
            <pc:sldMk cId="1578247093" sldId="934"/>
            <ac:spMk id="18" creationId="{B9167DAD-DAE3-4AC6-A5F2-6C8C992DA20C}"/>
          </ac:spMkLst>
        </pc:spChg>
        <pc:picChg chg="del">
          <ac:chgData name="Brian Vad Mathiesen" userId="8a78f856-4b15-4561-8b43-ae1e886d028a" providerId="ADAL" clId="{C28C5F6A-EC42-4D31-B902-557188BEE065}" dt="2022-05-04T15:21:31.583" v="1178" actId="478"/>
          <ac:picMkLst>
            <pc:docMk/>
            <pc:sldMk cId="1578247093" sldId="934"/>
            <ac:picMk id="19" creationId="{A040EE48-AF8E-4834-A39E-D88FEA7C0B07}"/>
          </ac:picMkLst>
        </pc:picChg>
        <pc:picChg chg="del mod">
          <ac:chgData name="Brian Vad Mathiesen" userId="8a78f856-4b15-4561-8b43-ae1e886d028a" providerId="ADAL" clId="{C28C5F6A-EC42-4D31-B902-557188BEE065}" dt="2022-05-04T15:21:31.583" v="1178" actId="478"/>
          <ac:picMkLst>
            <pc:docMk/>
            <pc:sldMk cId="1578247093" sldId="934"/>
            <ac:picMk id="20" creationId="{103BC227-E5B1-4B1A-888D-63E2145F08E4}"/>
          </ac:picMkLst>
        </pc:picChg>
        <pc:picChg chg="del">
          <ac:chgData name="Brian Vad Mathiesen" userId="8a78f856-4b15-4561-8b43-ae1e886d028a" providerId="ADAL" clId="{C28C5F6A-EC42-4D31-B902-557188BEE065}" dt="2022-05-04T15:21:31.583" v="1178" actId="478"/>
          <ac:picMkLst>
            <pc:docMk/>
            <pc:sldMk cId="1578247093" sldId="934"/>
            <ac:picMk id="21" creationId="{7BD9864D-E489-40DA-8A8F-72BC21308717}"/>
          </ac:picMkLst>
        </pc:picChg>
        <pc:picChg chg="add mod">
          <ac:chgData name="Brian Vad Mathiesen" userId="8a78f856-4b15-4561-8b43-ae1e886d028a" providerId="ADAL" clId="{C28C5F6A-EC42-4D31-B902-557188BEE065}" dt="2022-05-04T15:21:50.781" v="1183" actId="1076"/>
          <ac:picMkLst>
            <pc:docMk/>
            <pc:sldMk cId="1578247093" sldId="934"/>
            <ac:picMk id="27" creationId="{88C897B8-1BDA-4584-B830-447D576CC2CB}"/>
          </ac:picMkLst>
        </pc:picChg>
        <pc:picChg chg="add mod">
          <ac:chgData name="Brian Vad Mathiesen" userId="8a78f856-4b15-4561-8b43-ae1e886d028a" providerId="ADAL" clId="{C28C5F6A-EC42-4D31-B902-557188BEE065}" dt="2022-05-04T15:21:37.887" v="1181" actId="1076"/>
          <ac:picMkLst>
            <pc:docMk/>
            <pc:sldMk cId="1578247093" sldId="934"/>
            <ac:picMk id="28" creationId="{E6882FD8-6C63-44CC-A498-70891C77C903}"/>
          </ac:picMkLst>
        </pc:picChg>
        <pc:cxnChg chg="del mod">
          <ac:chgData name="Brian Vad Mathiesen" userId="8a78f856-4b15-4561-8b43-ae1e886d028a" providerId="ADAL" clId="{C28C5F6A-EC42-4D31-B902-557188BEE065}" dt="2022-05-04T15:21:15.418" v="1173" actId="478"/>
          <ac:cxnSpMkLst>
            <pc:docMk/>
            <pc:sldMk cId="1578247093" sldId="934"/>
            <ac:cxnSpMk id="15" creationId="{64D46D20-849A-43BA-9408-4AB85C7225C1}"/>
          </ac:cxnSpMkLst>
        </pc:cxnChg>
        <pc:cxnChg chg="del mod">
          <ac:chgData name="Brian Vad Mathiesen" userId="8a78f856-4b15-4561-8b43-ae1e886d028a" providerId="ADAL" clId="{C28C5F6A-EC42-4D31-B902-557188BEE065}" dt="2022-05-04T15:21:15.418" v="1173" actId="478"/>
          <ac:cxnSpMkLst>
            <pc:docMk/>
            <pc:sldMk cId="1578247093" sldId="934"/>
            <ac:cxnSpMk id="16" creationId="{C5F921B9-93EB-455F-8725-04F3BB3AC34D}"/>
          </ac:cxnSpMkLst>
        </pc:cxnChg>
        <pc:cxnChg chg="del mod">
          <ac:chgData name="Brian Vad Mathiesen" userId="8a78f856-4b15-4561-8b43-ae1e886d028a" providerId="ADAL" clId="{C28C5F6A-EC42-4D31-B902-557188BEE065}" dt="2022-05-04T15:21:15.418" v="1173" actId="478"/>
          <ac:cxnSpMkLst>
            <pc:docMk/>
            <pc:sldMk cId="1578247093" sldId="934"/>
            <ac:cxnSpMk id="17" creationId="{62D43675-434D-4FDD-87B6-FD41EE299536}"/>
          </ac:cxnSpMkLst>
        </pc:cxnChg>
        <pc:cxnChg chg="del mod">
          <ac:chgData name="Brian Vad Mathiesen" userId="8a78f856-4b15-4561-8b43-ae1e886d028a" providerId="ADAL" clId="{C28C5F6A-EC42-4D31-B902-557188BEE065}" dt="2022-05-04T15:21:15.418" v="1173" actId="478"/>
          <ac:cxnSpMkLst>
            <pc:docMk/>
            <pc:sldMk cId="1578247093" sldId="934"/>
            <ac:cxnSpMk id="23" creationId="{6A467CC8-D41D-4C2D-A263-E3F90C9A64BD}"/>
          </ac:cxnSpMkLst>
        </pc:cxnChg>
      </pc:sldChg>
      <pc:sldChg chg="add del">
        <pc:chgData name="Brian Vad Mathiesen" userId="8a78f856-4b15-4561-8b43-ae1e886d028a" providerId="ADAL" clId="{C28C5F6A-EC42-4D31-B902-557188BEE065}" dt="2022-05-04T15:14:42.744" v="1099" actId="2696"/>
        <pc:sldMkLst>
          <pc:docMk/>
          <pc:sldMk cId="55647544" sldId="935"/>
        </pc:sldMkLst>
      </pc:sldChg>
      <pc:sldChg chg="add">
        <pc:chgData name="Brian Vad Mathiesen" userId="8a78f856-4b15-4561-8b43-ae1e886d028a" providerId="ADAL" clId="{C28C5F6A-EC42-4D31-B902-557188BEE065}" dt="2022-05-04T15:14:51.013" v="1100"/>
        <pc:sldMkLst>
          <pc:docMk/>
          <pc:sldMk cId="3710610351" sldId="935"/>
        </pc:sldMkLst>
      </pc:sldChg>
      <pc:sldMasterChg chg="delSldLayout">
        <pc:chgData name="Brian Vad Mathiesen" userId="8a78f856-4b15-4561-8b43-ae1e886d028a" providerId="ADAL" clId="{C28C5F6A-EC42-4D31-B902-557188BEE065}" dt="2022-05-04T15:21:39.541" v="1182" actId="47"/>
        <pc:sldMasterMkLst>
          <pc:docMk/>
          <pc:sldMasterMk cId="744718865" sldId="2147483660"/>
        </pc:sldMasterMkLst>
        <pc:sldLayoutChg chg="del">
          <pc:chgData name="Brian Vad Mathiesen" userId="8a78f856-4b15-4561-8b43-ae1e886d028a" providerId="ADAL" clId="{C28C5F6A-EC42-4D31-B902-557188BEE065}" dt="2022-05-04T15:06:06.929" v="943" actId="47"/>
          <pc:sldLayoutMkLst>
            <pc:docMk/>
            <pc:sldMasterMk cId="744718865" sldId="2147483660"/>
            <pc:sldLayoutMk cId="4132011002" sldId="2147483682"/>
          </pc:sldLayoutMkLst>
        </pc:sldLayoutChg>
        <pc:sldLayoutChg chg="del">
          <pc:chgData name="Brian Vad Mathiesen" userId="8a78f856-4b15-4561-8b43-ae1e886d028a" providerId="ADAL" clId="{C28C5F6A-EC42-4D31-B902-557188BEE065}" dt="2022-05-04T15:06:44.981" v="952" actId="2696"/>
          <pc:sldLayoutMkLst>
            <pc:docMk/>
            <pc:sldMasterMk cId="744718865" sldId="2147483660"/>
            <pc:sldLayoutMk cId="3539687257" sldId="2147483683"/>
          </pc:sldLayoutMkLst>
        </pc:sldLayoutChg>
        <pc:sldLayoutChg chg="del">
          <pc:chgData name="Brian Vad Mathiesen" userId="8a78f856-4b15-4561-8b43-ae1e886d028a" providerId="ADAL" clId="{C28C5F6A-EC42-4D31-B902-557188BEE065}" dt="2022-05-04T15:21:39.541" v="1182" actId="47"/>
          <pc:sldLayoutMkLst>
            <pc:docMk/>
            <pc:sldMasterMk cId="744718865" sldId="2147483660"/>
            <pc:sldLayoutMk cId="1203214622" sldId="2147483684"/>
          </pc:sldLayoutMkLst>
        </pc:sldLayoutChg>
      </pc:sldMasterChg>
    </pc:docChg>
  </pc:docChgLst>
  <pc:docChgLst>
    <pc:chgData name="Brian Vad Mathiesen" userId="8a78f856-4b15-4561-8b43-ae1e886d028a" providerId="ADAL" clId="{4DA68FBF-A324-423A-8A97-FC743C73BE74}"/>
    <pc:docChg chg="modSld">
      <pc:chgData name="Brian Vad Mathiesen" userId="8a78f856-4b15-4561-8b43-ae1e886d028a" providerId="ADAL" clId="{4DA68FBF-A324-423A-8A97-FC743C73BE74}" dt="2022-05-12T09:57:48.606" v="37" actId="1076"/>
      <pc:docMkLst>
        <pc:docMk/>
      </pc:docMkLst>
      <pc:sldChg chg="modSp mod">
        <pc:chgData name="Brian Vad Mathiesen" userId="8a78f856-4b15-4561-8b43-ae1e886d028a" providerId="ADAL" clId="{4DA68FBF-A324-423A-8A97-FC743C73BE74}" dt="2022-05-12T09:57:48.606" v="37" actId="1076"/>
        <pc:sldMkLst>
          <pc:docMk/>
          <pc:sldMk cId="644743255" sldId="266"/>
        </pc:sldMkLst>
        <pc:spChg chg="mod">
          <ac:chgData name="Brian Vad Mathiesen" userId="8a78f856-4b15-4561-8b43-ae1e886d028a" providerId="ADAL" clId="{4DA68FBF-A324-423A-8A97-FC743C73BE74}" dt="2022-05-12T09:57:48.606" v="37" actId="1076"/>
          <ac:spMkLst>
            <pc:docMk/>
            <pc:sldMk cId="644743255" sldId="266"/>
            <ac:spMk id="2" creationId="{9635DCBF-C5EB-4604-8501-A2C8139E30C1}"/>
          </ac:spMkLst>
        </pc:spChg>
      </pc:sldChg>
      <pc:sldChg chg="modSp mod">
        <pc:chgData name="Brian Vad Mathiesen" userId="8a78f856-4b15-4561-8b43-ae1e886d028a" providerId="ADAL" clId="{4DA68FBF-A324-423A-8A97-FC743C73BE74}" dt="2022-05-12T06:57:04.465" v="36" actId="20577"/>
        <pc:sldMkLst>
          <pc:docMk/>
          <pc:sldMk cId="209450135" sldId="533"/>
        </pc:sldMkLst>
        <pc:spChg chg="mod">
          <ac:chgData name="Brian Vad Mathiesen" userId="8a78f856-4b15-4561-8b43-ae1e886d028a" providerId="ADAL" clId="{4DA68FBF-A324-423A-8A97-FC743C73BE74}" dt="2022-05-12T06:57:04.465" v="36" actId="20577"/>
          <ac:spMkLst>
            <pc:docMk/>
            <pc:sldMk cId="209450135" sldId="533"/>
            <ac:spMk id="2" creationId="{00000000-0000-0000-0000-000000000000}"/>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bvm\Downloads\figurer2012%20(2).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oleObject" Target="https://aaudk-my.sharepoint.com/personal/steffenn_plan_aau_dk/Documents/02_research_projects/2020_04_Varmeplan_Danmark_2030/Varmebesparelser/Varmebesparelser_vpdk2030%20-%20analyse.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Energiimport/eksport og betalingsbalancen, Mia. DKK</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a-DK"/>
        </a:p>
      </c:txPr>
    </c:title>
    <c:autoTitleDeleted val="0"/>
    <c:plotArea>
      <c:layout/>
      <c:areaChart>
        <c:grouping val="stacked"/>
        <c:varyColors val="0"/>
        <c:ser>
          <c:idx val="0"/>
          <c:order val="0"/>
          <c:tx>
            <c:strRef>
              <c:f>økonomi!$A$85</c:f>
              <c:strCache>
                <c:ptCount val="1"/>
                <c:pt idx="0">
                  <c:v>Olie</c:v>
                </c:pt>
              </c:strCache>
            </c:strRef>
          </c:tx>
          <c:spPr>
            <a:solidFill>
              <a:schemeClr val="accent1"/>
            </a:solidFill>
            <a:ln>
              <a:noFill/>
            </a:ln>
            <a:effectLst/>
          </c:spPr>
          <c:cat>
            <c:strRef>
              <c:f>økonomi!$B$84:$AH$84</c:f>
              <c:strCache>
                <c:ptCount val="33"/>
                <c:pt idx="0">
                  <c:v>1980</c:v>
                </c:pt>
                <c:pt idx="1">
                  <c:v>'81</c:v>
                </c:pt>
                <c:pt idx="2">
                  <c:v>'82</c:v>
                </c:pt>
                <c:pt idx="3">
                  <c:v>'83</c:v>
                </c:pt>
                <c:pt idx="4">
                  <c:v>'84</c:v>
                </c:pt>
                <c:pt idx="5">
                  <c:v>'85</c:v>
                </c:pt>
                <c:pt idx="6">
                  <c:v>'86</c:v>
                </c:pt>
                <c:pt idx="7">
                  <c:v>'87</c:v>
                </c:pt>
                <c:pt idx="8">
                  <c:v>'88</c:v>
                </c:pt>
                <c:pt idx="9">
                  <c:v>'89</c:v>
                </c:pt>
                <c:pt idx="10">
                  <c:v>'90</c:v>
                </c:pt>
                <c:pt idx="11">
                  <c:v>'91</c:v>
                </c:pt>
                <c:pt idx="12">
                  <c:v>'92</c:v>
                </c:pt>
                <c:pt idx="13">
                  <c:v>'93</c:v>
                </c:pt>
                <c:pt idx="14">
                  <c:v>'94</c:v>
                </c:pt>
                <c:pt idx="15">
                  <c:v>'95</c:v>
                </c:pt>
                <c:pt idx="16">
                  <c:v>'96</c:v>
                </c:pt>
                <c:pt idx="17">
                  <c:v>'97</c:v>
                </c:pt>
                <c:pt idx="18">
                  <c:v>'98</c:v>
                </c:pt>
                <c:pt idx="19">
                  <c:v>'99</c:v>
                </c:pt>
                <c:pt idx="20">
                  <c:v>'00</c:v>
                </c:pt>
                <c:pt idx="21">
                  <c:v>'01</c:v>
                </c:pt>
                <c:pt idx="22">
                  <c:v>'02</c:v>
                </c:pt>
                <c:pt idx="23">
                  <c:v>'03</c:v>
                </c:pt>
                <c:pt idx="24">
                  <c:v>'04</c:v>
                </c:pt>
                <c:pt idx="25">
                  <c:v>'05</c:v>
                </c:pt>
                <c:pt idx="26">
                  <c:v>'06</c:v>
                </c:pt>
                <c:pt idx="27">
                  <c:v>'07</c:v>
                </c:pt>
                <c:pt idx="28">
                  <c:v>'08</c:v>
                </c:pt>
                <c:pt idx="29">
                  <c:v>'09</c:v>
                </c:pt>
                <c:pt idx="30">
                  <c:v>'10</c:v>
                </c:pt>
                <c:pt idx="31">
                  <c:v>'11</c:v>
                </c:pt>
                <c:pt idx="32">
                  <c:v>'12</c:v>
                </c:pt>
              </c:strCache>
            </c:strRef>
          </c:cat>
          <c:val>
            <c:numRef>
              <c:f>økonomi!$B$85:$AH$85</c:f>
              <c:numCache>
                <c:formatCode>General</c:formatCode>
                <c:ptCount val="33"/>
                <c:pt idx="0">
                  <c:v>-18.600000000000001</c:v>
                </c:pt>
                <c:pt idx="1">
                  <c:v>-20.100000000000001</c:v>
                </c:pt>
                <c:pt idx="2">
                  <c:v>-20.6</c:v>
                </c:pt>
                <c:pt idx="3">
                  <c:v>-17.8</c:v>
                </c:pt>
                <c:pt idx="4">
                  <c:v>-18.399999999999999</c:v>
                </c:pt>
                <c:pt idx="5">
                  <c:v>-18.3</c:v>
                </c:pt>
                <c:pt idx="6">
                  <c:v>-7.96</c:v>
                </c:pt>
                <c:pt idx="7">
                  <c:v>-6.39</c:v>
                </c:pt>
                <c:pt idx="8">
                  <c:v>-4.28</c:v>
                </c:pt>
                <c:pt idx="9">
                  <c:v>-3.81</c:v>
                </c:pt>
                <c:pt idx="10">
                  <c:v>-3.42</c:v>
                </c:pt>
                <c:pt idx="11">
                  <c:v>-3.03</c:v>
                </c:pt>
                <c:pt idx="12">
                  <c:v>-1.44</c:v>
                </c:pt>
                <c:pt idx="13">
                  <c:v>-2.76</c:v>
                </c:pt>
                <c:pt idx="14">
                  <c:v>-1.39</c:v>
                </c:pt>
                <c:pt idx="15">
                  <c:v>-0.66</c:v>
                </c:pt>
                <c:pt idx="16">
                  <c:v>-0.73</c:v>
                </c:pt>
                <c:pt idx="17">
                  <c:v>-0.77</c:v>
                </c:pt>
                <c:pt idx="18">
                  <c:v>-0.84</c:v>
                </c:pt>
                <c:pt idx="19">
                  <c:v>2.09</c:v>
                </c:pt>
                <c:pt idx="20">
                  <c:v>12.05</c:v>
                </c:pt>
                <c:pt idx="21">
                  <c:v>8.33</c:v>
                </c:pt>
                <c:pt idx="22">
                  <c:v>11.02</c:v>
                </c:pt>
                <c:pt idx="23">
                  <c:v>12.02</c:v>
                </c:pt>
                <c:pt idx="24">
                  <c:v>15.84</c:v>
                </c:pt>
                <c:pt idx="25">
                  <c:v>19</c:v>
                </c:pt>
                <c:pt idx="26">
                  <c:v>22.22</c:v>
                </c:pt>
                <c:pt idx="27">
                  <c:v>19.66</c:v>
                </c:pt>
                <c:pt idx="28">
                  <c:v>14.7</c:v>
                </c:pt>
                <c:pt idx="29">
                  <c:v>8.42</c:v>
                </c:pt>
                <c:pt idx="30">
                  <c:v>8.7100000000000009</c:v>
                </c:pt>
                <c:pt idx="31">
                  <c:v>7.4</c:v>
                </c:pt>
                <c:pt idx="32">
                  <c:v>9.92</c:v>
                </c:pt>
              </c:numCache>
            </c:numRef>
          </c:val>
          <c:extLst>
            <c:ext xmlns:c16="http://schemas.microsoft.com/office/drawing/2014/chart" uri="{C3380CC4-5D6E-409C-BE32-E72D297353CC}">
              <c16:uniqueId val="{00000000-EC86-4F9C-B36C-605F218BDB3F}"/>
            </c:ext>
          </c:extLst>
        </c:ser>
        <c:ser>
          <c:idx val="1"/>
          <c:order val="1"/>
          <c:tx>
            <c:strRef>
              <c:f>økonomi!$A$86</c:f>
              <c:strCache>
                <c:ptCount val="1"/>
                <c:pt idx="0">
                  <c:v>Naturgas</c:v>
                </c:pt>
              </c:strCache>
            </c:strRef>
          </c:tx>
          <c:spPr>
            <a:solidFill>
              <a:schemeClr val="accent2"/>
            </a:solidFill>
            <a:ln>
              <a:noFill/>
            </a:ln>
            <a:effectLst/>
          </c:spPr>
          <c:cat>
            <c:strRef>
              <c:f>økonomi!$B$84:$AH$84</c:f>
              <c:strCache>
                <c:ptCount val="33"/>
                <c:pt idx="0">
                  <c:v>1980</c:v>
                </c:pt>
                <c:pt idx="1">
                  <c:v>'81</c:v>
                </c:pt>
                <c:pt idx="2">
                  <c:v>'82</c:v>
                </c:pt>
                <c:pt idx="3">
                  <c:v>'83</c:v>
                </c:pt>
                <c:pt idx="4">
                  <c:v>'84</c:v>
                </c:pt>
                <c:pt idx="5">
                  <c:v>'85</c:v>
                </c:pt>
                <c:pt idx="6">
                  <c:v>'86</c:v>
                </c:pt>
                <c:pt idx="7">
                  <c:v>'87</c:v>
                </c:pt>
                <c:pt idx="8">
                  <c:v>'88</c:v>
                </c:pt>
                <c:pt idx="9">
                  <c:v>'89</c:v>
                </c:pt>
                <c:pt idx="10">
                  <c:v>'90</c:v>
                </c:pt>
                <c:pt idx="11">
                  <c:v>'91</c:v>
                </c:pt>
                <c:pt idx="12">
                  <c:v>'92</c:v>
                </c:pt>
                <c:pt idx="13">
                  <c:v>'93</c:v>
                </c:pt>
                <c:pt idx="14">
                  <c:v>'94</c:v>
                </c:pt>
                <c:pt idx="15">
                  <c:v>'95</c:v>
                </c:pt>
                <c:pt idx="16">
                  <c:v>'96</c:v>
                </c:pt>
                <c:pt idx="17">
                  <c:v>'97</c:v>
                </c:pt>
                <c:pt idx="18">
                  <c:v>'98</c:v>
                </c:pt>
                <c:pt idx="19">
                  <c:v>'99</c:v>
                </c:pt>
                <c:pt idx="20">
                  <c:v>'00</c:v>
                </c:pt>
                <c:pt idx="21">
                  <c:v>'01</c:v>
                </c:pt>
                <c:pt idx="22">
                  <c:v>'02</c:v>
                </c:pt>
                <c:pt idx="23">
                  <c:v>'03</c:v>
                </c:pt>
                <c:pt idx="24">
                  <c:v>'04</c:v>
                </c:pt>
                <c:pt idx="25">
                  <c:v>'05</c:v>
                </c:pt>
                <c:pt idx="26">
                  <c:v>'06</c:v>
                </c:pt>
                <c:pt idx="27">
                  <c:v>'07</c:v>
                </c:pt>
                <c:pt idx="28">
                  <c:v>'08</c:v>
                </c:pt>
                <c:pt idx="29">
                  <c:v>'09</c:v>
                </c:pt>
                <c:pt idx="30">
                  <c:v>'10</c:v>
                </c:pt>
                <c:pt idx="31">
                  <c:v>'11</c:v>
                </c:pt>
                <c:pt idx="32">
                  <c:v>'12</c:v>
                </c:pt>
              </c:strCache>
            </c:strRef>
          </c:cat>
          <c:val>
            <c:numRef>
              <c:f>økonomi!$B$86:$AH$86</c:f>
              <c:numCache>
                <c:formatCode>General</c:formatCode>
                <c:ptCount val="33"/>
                <c:pt idx="0">
                  <c:v>0</c:v>
                </c:pt>
                <c:pt idx="1">
                  <c:v>0</c:v>
                </c:pt>
                <c:pt idx="2">
                  <c:v>0</c:v>
                </c:pt>
                <c:pt idx="3">
                  <c:v>0</c:v>
                </c:pt>
                <c:pt idx="4">
                  <c:v>0.1</c:v>
                </c:pt>
                <c:pt idx="5">
                  <c:v>0.7</c:v>
                </c:pt>
                <c:pt idx="6">
                  <c:v>0.68</c:v>
                </c:pt>
                <c:pt idx="7">
                  <c:v>0.5</c:v>
                </c:pt>
                <c:pt idx="8">
                  <c:v>0.53</c:v>
                </c:pt>
                <c:pt idx="9">
                  <c:v>0.62</c:v>
                </c:pt>
                <c:pt idx="10">
                  <c:v>0.75</c:v>
                </c:pt>
                <c:pt idx="11">
                  <c:v>1.1000000000000001</c:v>
                </c:pt>
                <c:pt idx="12">
                  <c:v>1.02</c:v>
                </c:pt>
                <c:pt idx="13">
                  <c:v>1.04</c:v>
                </c:pt>
                <c:pt idx="14">
                  <c:v>0.93</c:v>
                </c:pt>
                <c:pt idx="15">
                  <c:v>0.95</c:v>
                </c:pt>
                <c:pt idx="16">
                  <c:v>1.1100000000000001</c:v>
                </c:pt>
                <c:pt idx="17">
                  <c:v>2.13</c:v>
                </c:pt>
                <c:pt idx="18">
                  <c:v>1.76</c:v>
                </c:pt>
                <c:pt idx="19">
                  <c:v>1.4</c:v>
                </c:pt>
                <c:pt idx="20">
                  <c:v>2.83</c:v>
                </c:pt>
                <c:pt idx="21">
                  <c:v>4.26</c:v>
                </c:pt>
                <c:pt idx="22">
                  <c:v>3.43</c:v>
                </c:pt>
                <c:pt idx="23">
                  <c:v>3.33</c:v>
                </c:pt>
                <c:pt idx="24">
                  <c:v>3.89</c:v>
                </c:pt>
                <c:pt idx="25">
                  <c:v>5.21</c:v>
                </c:pt>
                <c:pt idx="26">
                  <c:v>9.23</c:v>
                </c:pt>
                <c:pt idx="27">
                  <c:v>8.64</c:v>
                </c:pt>
                <c:pt idx="28">
                  <c:v>12.41</c:v>
                </c:pt>
                <c:pt idx="29">
                  <c:v>6.73</c:v>
                </c:pt>
                <c:pt idx="30">
                  <c:v>6.62</c:v>
                </c:pt>
                <c:pt idx="31">
                  <c:v>4.04</c:v>
                </c:pt>
                <c:pt idx="32">
                  <c:v>2.61</c:v>
                </c:pt>
              </c:numCache>
            </c:numRef>
          </c:val>
          <c:extLst>
            <c:ext xmlns:c16="http://schemas.microsoft.com/office/drawing/2014/chart" uri="{C3380CC4-5D6E-409C-BE32-E72D297353CC}">
              <c16:uniqueId val="{00000001-EC86-4F9C-B36C-605F218BDB3F}"/>
            </c:ext>
          </c:extLst>
        </c:ser>
        <c:ser>
          <c:idx val="2"/>
          <c:order val="2"/>
          <c:tx>
            <c:strRef>
              <c:f>økonomi!$A$87</c:f>
              <c:strCache>
                <c:ptCount val="1"/>
                <c:pt idx="0">
                  <c:v>Kul</c:v>
                </c:pt>
              </c:strCache>
            </c:strRef>
          </c:tx>
          <c:spPr>
            <a:solidFill>
              <a:schemeClr val="accent3"/>
            </a:solidFill>
            <a:ln>
              <a:noFill/>
            </a:ln>
            <a:effectLst/>
          </c:spPr>
          <c:cat>
            <c:strRef>
              <c:f>økonomi!$B$84:$AH$84</c:f>
              <c:strCache>
                <c:ptCount val="33"/>
                <c:pt idx="0">
                  <c:v>1980</c:v>
                </c:pt>
                <c:pt idx="1">
                  <c:v>'81</c:v>
                </c:pt>
                <c:pt idx="2">
                  <c:v>'82</c:v>
                </c:pt>
                <c:pt idx="3">
                  <c:v>'83</c:v>
                </c:pt>
                <c:pt idx="4">
                  <c:v>'84</c:v>
                </c:pt>
                <c:pt idx="5">
                  <c:v>'85</c:v>
                </c:pt>
                <c:pt idx="6">
                  <c:v>'86</c:v>
                </c:pt>
                <c:pt idx="7">
                  <c:v>'87</c:v>
                </c:pt>
                <c:pt idx="8">
                  <c:v>'88</c:v>
                </c:pt>
                <c:pt idx="9">
                  <c:v>'89</c:v>
                </c:pt>
                <c:pt idx="10">
                  <c:v>'90</c:v>
                </c:pt>
                <c:pt idx="11">
                  <c:v>'91</c:v>
                </c:pt>
                <c:pt idx="12">
                  <c:v>'92</c:v>
                </c:pt>
                <c:pt idx="13">
                  <c:v>'93</c:v>
                </c:pt>
                <c:pt idx="14">
                  <c:v>'94</c:v>
                </c:pt>
                <c:pt idx="15">
                  <c:v>'95</c:v>
                </c:pt>
                <c:pt idx="16">
                  <c:v>'96</c:v>
                </c:pt>
                <c:pt idx="17">
                  <c:v>'97</c:v>
                </c:pt>
                <c:pt idx="18">
                  <c:v>'98</c:v>
                </c:pt>
                <c:pt idx="19">
                  <c:v>'99</c:v>
                </c:pt>
                <c:pt idx="20">
                  <c:v>'00</c:v>
                </c:pt>
                <c:pt idx="21">
                  <c:v>'01</c:v>
                </c:pt>
                <c:pt idx="22">
                  <c:v>'02</c:v>
                </c:pt>
                <c:pt idx="23">
                  <c:v>'03</c:v>
                </c:pt>
                <c:pt idx="24">
                  <c:v>'04</c:v>
                </c:pt>
                <c:pt idx="25">
                  <c:v>'05</c:v>
                </c:pt>
                <c:pt idx="26">
                  <c:v>'06</c:v>
                </c:pt>
                <c:pt idx="27">
                  <c:v>'07</c:v>
                </c:pt>
                <c:pt idx="28">
                  <c:v>'08</c:v>
                </c:pt>
                <c:pt idx="29">
                  <c:v>'09</c:v>
                </c:pt>
                <c:pt idx="30">
                  <c:v>'10</c:v>
                </c:pt>
                <c:pt idx="31">
                  <c:v>'11</c:v>
                </c:pt>
                <c:pt idx="32">
                  <c:v>'12</c:v>
                </c:pt>
              </c:strCache>
            </c:strRef>
          </c:cat>
          <c:val>
            <c:numRef>
              <c:f>økonomi!$B$87:$AH$87</c:f>
              <c:numCache>
                <c:formatCode>General</c:formatCode>
                <c:ptCount val="33"/>
                <c:pt idx="0">
                  <c:v>-2.9</c:v>
                </c:pt>
                <c:pt idx="1">
                  <c:v>-5</c:v>
                </c:pt>
                <c:pt idx="2">
                  <c:v>-5</c:v>
                </c:pt>
                <c:pt idx="3">
                  <c:v>-3.8</c:v>
                </c:pt>
                <c:pt idx="4">
                  <c:v>-4.2</c:v>
                </c:pt>
                <c:pt idx="5">
                  <c:v>-5.9</c:v>
                </c:pt>
                <c:pt idx="6">
                  <c:v>-3.97</c:v>
                </c:pt>
                <c:pt idx="7">
                  <c:v>-2.84</c:v>
                </c:pt>
                <c:pt idx="8">
                  <c:v>-2.7</c:v>
                </c:pt>
                <c:pt idx="9">
                  <c:v>-3.46</c:v>
                </c:pt>
                <c:pt idx="10">
                  <c:v>-2.87</c:v>
                </c:pt>
                <c:pt idx="11">
                  <c:v>-3.7</c:v>
                </c:pt>
                <c:pt idx="12">
                  <c:v>-3.17</c:v>
                </c:pt>
                <c:pt idx="13">
                  <c:v>-2.2599999999999998</c:v>
                </c:pt>
                <c:pt idx="14">
                  <c:v>-2.36</c:v>
                </c:pt>
                <c:pt idx="15">
                  <c:v>-2.82</c:v>
                </c:pt>
                <c:pt idx="16">
                  <c:v>-2.83</c:v>
                </c:pt>
                <c:pt idx="17">
                  <c:v>-3.67</c:v>
                </c:pt>
                <c:pt idx="18">
                  <c:v>-2.09</c:v>
                </c:pt>
                <c:pt idx="19">
                  <c:v>-1.51</c:v>
                </c:pt>
                <c:pt idx="20">
                  <c:v>-1.69</c:v>
                </c:pt>
                <c:pt idx="21">
                  <c:v>-2.38</c:v>
                </c:pt>
                <c:pt idx="22">
                  <c:v>-1.66</c:v>
                </c:pt>
                <c:pt idx="23">
                  <c:v>-2.4300000000000002</c:v>
                </c:pt>
                <c:pt idx="24">
                  <c:v>-2.72</c:v>
                </c:pt>
                <c:pt idx="25">
                  <c:v>-2.2799999999999998</c:v>
                </c:pt>
                <c:pt idx="26">
                  <c:v>-3.55</c:v>
                </c:pt>
                <c:pt idx="27">
                  <c:v>-3.47</c:v>
                </c:pt>
                <c:pt idx="28">
                  <c:v>-4.9000000000000004</c:v>
                </c:pt>
                <c:pt idx="29">
                  <c:v>-3.18</c:v>
                </c:pt>
                <c:pt idx="30">
                  <c:v>-2.58</c:v>
                </c:pt>
                <c:pt idx="31">
                  <c:v>-4.3899999999999997</c:v>
                </c:pt>
                <c:pt idx="32">
                  <c:v>-2.37</c:v>
                </c:pt>
              </c:numCache>
            </c:numRef>
          </c:val>
          <c:extLst>
            <c:ext xmlns:c16="http://schemas.microsoft.com/office/drawing/2014/chart" uri="{C3380CC4-5D6E-409C-BE32-E72D297353CC}">
              <c16:uniqueId val="{00000002-EC86-4F9C-B36C-605F218BDB3F}"/>
            </c:ext>
          </c:extLst>
        </c:ser>
        <c:ser>
          <c:idx val="3"/>
          <c:order val="3"/>
          <c:tx>
            <c:strRef>
              <c:f>økonomi!$A$88</c:f>
              <c:strCache>
                <c:ptCount val="1"/>
                <c:pt idx="0">
                  <c:v>El</c:v>
                </c:pt>
              </c:strCache>
            </c:strRef>
          </c:tx>
          <c:spPr>
            <a:solidFill>
              <a:schemeClr val="accent4"/>
            </a:solidFill>
            <a:ln>
              <a:noFill/>
            </a:ln>
            <a:effectLst/>
          </c:spPr>
          <c:cat>
            <c:strRef>
              <c:f>økonomi!$B$84:$AH$84</c:f>
              <c:strCache>
                <c:ptCount val="33"/>
                <c:pt idx="0">
                  <c:v>1980</c:v>
                </c:pt>
                <c:pt idx="1">
                  <c:v>'81</c:v>
                </c:pt>
                <c:pt idx="2">
                  <c:v>'82</c:v>
                </c:pt>
                <c:pt idx="3">
                  <c:v>'83</c:v>
                </c:pt>
                <c:pt idx="4">
                  <c:v>'84</c:v>
                </c:pt>
                <c:pt idx="5">
                  <c:v>'85</c:v>
                </c:pt>
                <c:pt idx="6">
                  <c:v>'86</c:v>
                </c:pt>
                <c:pt idx="7">
                  <c:v>'87</c:v>
                </c:pt>
                <c:pt idx="8">
                  <c:v>'88</c:v>
                </c:pt>
                <c:pt idx="9">
                  <c:v>'89</c:v>
                </c:pt>
                <c:pt idx="10">
                  <c:v>'90</c:v>
                </c:pt>
                <c:pt idx="11">
                  <c:v>'91</c:v>
                </c:pt>
                <c:pt idx="12">
                  <c:v>'92</c:v>
                </c:pt>
                <c:pt idx="13">
                  <c:v>'93</c:v>
                </c:pt>
                <c:pt idx="14">
                  <c:v>'94</c:v>
                </c:pt>
                <c:pt idx="15">
                  <c:v>'95</c:v>
                </c:pt>
                <c:pt idx="16">
                  <c:v>'96</c:v>
                </c:pt>
                <c:pt idx="17">
                  <c:v>'97</c:v>
                </c:pt>
                <c:pt idx="18">
                  <c:v>'98</c:v>
                </c:pt>
                <c:pt idx="19">
                  <c:v>'99</c:v>
                </c:pt>
                <c:pt idx="20">
                  <c:v>'00</c:v>
                </c:pt>
                <c:pt idx="21">
                  <c:v>'01</c:v>
                </c:pt>
                <c:pt idx="22">
                  <c:v>'02</c:v>
                </c:pt>
                <c:pt idx="23">
                  <c:v>'03</c:v>
                </c:pt>
                <c:pt idx="24">
                  <c:v>'04</c:v>
                </c:pt>
                <c:pt idx="25">
                  <c:v>'05</c:v>
                </c:pt>
                <c:pt idx="26">
                  <c:v>'06</c:v>
                </c:pt>
                <c:pt idx="27">
                  <c:v>'07</c:v>
                </c:pt>
                <c:pt idx="28">
                  <c:v>'08</c:v>
                </c:pt>
                <c:pt idx="29">
                  <c:v>'09</c:v>
                </c:pt>
                <c:pt idx="30">
                  <c:v>'10</c:v>
                </c:pt>
                <c:pt idx="31">
                  <c:v>'11</c:v>
                </c:pt>
                <c:pt idx="32">
                  <c:v>'12</c:v>
                </c:pt>
              </c:strCache>
            </c:strRef>
          </c:cat>
          <c:val>
            <c:numRef>
              <c:f>økonomi!$B$88:$AH$88</c:f>
              <c:numCache>
                <c:formatCode>General</c:formatCode>
                <c:ptCount val="33"/>
                <c:pt idx="0">
                  <c:v>0.3</c:v>
                </c:pt>
                <c:pt idx="1">
                  <c:v>-0.8</c:v>
                </c:pt>
                <c:pt idx="2">
                  <c:v>-0.2</c:v>
                </c:pt>
                <c:pt idx="3">
                  <c:v>-0.3</c:v>
                </c:pt>
                <c:pt idx="4">
                  <c:v>-0.4</c:v>
                </c:pt>
                <c:pt idx="5">
                  <c:v>0.1</c:v>
                </c:pt>
                <c:pt idx="6">
                  <c:v>0.13</c:v>
                </c:pt>
                <c:pt idx="7">
                  <c:v>-0.06</c:v>
                </c:pt>
                <c:pt idx="8">
                  <c:v>-0.26</c:v>
                </c:pt>
                <c:pt idx="9">
                  <c:v>-0.74</c:v>
                </c:pt>
                <c:pt idx="10">
                  <c:v>-0.23</c:v>
                </c:pt>
                <c:pt idx="11">
                  <c:v>0.5</c:v>
                </c:pt>
                <c:pt idx="12">
                  <c:v>-0.03</c:v>
                </c:pt>
                <c:pt idx="13">
                  <c:v>0.16</c:v>
                </c:pt>
                <c:pt idx="14">
                  <c:v>0.73</c:v>
                </c:pt>
                <c:pt idx="15">
                  <c:v>0.2</c:v>
                </c:pt>
                <c:pt idx="16">
                  <c:v>2.72</c:v>
                </c:pt>
                <c:pt idx="17">
                  <c:v>1.37</c:v>
                </c:pt>
                <c:pt idx="18">
                  <c:v>0.83</c:v>
                </c:pt>
                <c:pt idx="19">
                  <c:v>0.53</c:v>
                </c:pt>
                <c:pt idx="20">
                  <c:v>0.35</c:v>
                </c:pt>
                <c:pt idx="21">
                  <c:v>0.21</c:v>
                </c:pt>
                <c:pt idx="22">
                  <c:v>0.42</c:v>
                </c:pt>
                <c:pt idx="23">
                  <c:v>1</c:v>
                </c:pt>
                <c:pt idx="24">
                  <c:v>0.76</c:v>
                </c:pt>
                <c:pt idx="25">
                  <c:v>0.22</c:v>
                </c:pt>
                <c:pt idx="26">
                  <c:v>2.69</c:v>
                </c:pt>
                <c:pt idx="27">
                  <c:v>0.9</c:v>
                </c:pt>
                <c:pt idx="28">
                  <c:v>0.37</c:v>
                </c:pt>
                <c:pt idx="29">
                  <c:v>0.33</c:v>
                </c:pt>
                <c:pt idx="30">
                  <c:v>1.1100000000000001</c:v>
                </c:pt>
                <c:pt idx="31">
                  <c:v>-0.16</c:v>
                </c:pt>
                <c:pt idx="32">
                  <c:v>-2.62</c:v>
                </c:pt>
              </c:numCache>
            </c:numRef>
          </c:val>
          <c:extLst>
            <c:ext xmlns:c16="http://schemas.microsoft.com/office/drawing/2014/chart" uri="{C3380CC4-5D6E-409C-BE32-E72D297353CC}">
              <c16:uniqueId val="{00000003-EC86-4F9C-B36C-605F218BDB3F}"/>
            </c:ext>
          </c:extLst>
        </c:ser>
        <c:ser>
          <c:idx val="4"/>
          <c:order val="4"/>
          <c:tx>
            <c:strRef>
              <c:f>økonomi!$A$89</c:f>
              <c:strCache>
                <c:ptCount val="1"/>
                <c:pt idx="0">
                  <c:v>Biomasse</c:v>
                </c:pt>
              </c:strCache>
            </c:strRef>
          </c:tx>
          <c:spPr>
            <a:solidFill>
              <a:schemeClr val="accent5"/>
            </a:solidFill>
            <a:ln>
              <a:noFill/>
            </a:ln>
            <a:effectLst/>
          </c:spPr>
          <c:cat>
            <c:strRef>
              <c:f>økonomi!$B$84:$AH$84</c:f>
              <c:strCache>
                <c:ptCount val="33"/>
                <c:pt idx="0">
                  <c:v>1980</c:v>
                </c:pt>
                <c:pt idx="1">
                  <c:v>'81</c:v>
                </c:pt>
                <c:pt idx="2">
                  <c:v>'82</c:v>
                </c:pt>
                <c:pt idx="3">
                  <c:v>'83</c:v>
                </c:pt>
                <c:pt idx="4">
                  <c:v>'84</c:v>
                </c:pt>
                <c:pt idx="5">
                  <c:v>'85</c:v>
                </c:pt>
                <c:pt idx="6">
                  <c:v>'86</c:v>
                </c:pt>
                <c:pt idx="7">
                  <c:v>'87</c:v>
                </c:pt>
                <c:pt idx="8">
                  <c:v>'88</c:v>
                </c:pt>
                <c:pt idx="9">
                  <c:v>'89</c:v>
                </c:pt>
                <c:pt idx="10">
                  <c:v>'90</c:v>
                </c:pt>
                <c:pt idx="11">
                  <c:v>'91</c:v>
                </c:pt>
                <c:pt idx="12">
                  <c:v>'92</c:v>
                </c:pt>
                <c:pt idx="13">
                  <c:v>'93</c:v>
                </c:pt>
                <c:pt idx="14">
                  <c:v>'94</c:v>
                </c:pt>
                <c:pt idx="15">
                  <c:v>'95</c:v>
                </c:pt>
                <c:pt idx="16">
                  <c:v>'96</c:v>
                </c:pt>
                <c:pt idx="17">
                  <c:v>'97</c:v>
                </c:pt>
                <c:pt idx="18">
                  <c:v>'98</c:v>
                </c:pt>
                <c:pt idx="19">
                  <c:v>'99</c:v>
                </c:pt>
                <c:pt idx="20">
                  <c:v>'00</c:v>
                </c:pt>
                <c:pt idx="21">
                  <c:v>'01</c:v>
                </c:pt>
                <c:pt idx="22">
                  <c:v>'02</c:v>
                </c:pt>
                <c:pt idx="23">
                  <c:v>'03</c:v>
                </c:pt>
                <c:pt idx="24">
                  <c:v>'04</c:v>
                </c:pt>
                <c:pt idx="25">
                  <c:v>'05</c:v>
                </c:pt>
                <c:pt idx="26">
                  <c:v>'06</c:v>
                </c:pt>
                <c:pt idx="27">
                  <c:v>'07</c:v>
                </c:pt>
                <c:pt idx="28">
                  <c:v>'08</c:v>
                </c:pt>
                <c:pt idx="29">
                  <c:v>'09</c:v>
                </c:pt>
                <c:pt idx="30">
                  <c:v>'10</c:v>
                </c:pt>
                <c:pt idx="31">
                  <c:v>'11</c:v>
                </c:pt>
                <c:pt idx="32">
                  <c:v>'12</c:v>
                </c:pt>
              </c:strCache>
            </c:strRef>
          </c:cat>
          <c:val>
            <c:numRef>
              <c:f>økonomi!$B$89:$AH$89</c:f>
              <c:numCache>
                <c:formatCode>General</c:formatCode>
                <c:ptCount val="33"/>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13</c:v>
                </c:pt>
                <c:pt idx="21">
                  <c:v>-0.18</c:v>
                </c:pt>
                <c:pt idx="22">
                  <c:v>-0.38</c:v>
                </c:pt>
                <c:pt idx="23">
                  <c:v>-0.43</c:v>
                </c:pt>
                <c:pt idx="24">
                  <c:v>-0.48</c:v>
                </c:pt>
                <c:pt idx="25">
                  <c:v>-0.62</c:v>
                </c:pt>
                <c:pt idx="26">
                  <c:v>-0.97</c:v>
                </c:pt>
                <c:pt idx="27">
                  <c:v>-0.79</c:v>
                </c:pt>
                <c:pt idx="28">
                  <c:v>-0.9</c:v>
                </c:pt>
                <c:pt idx="29">
                  <c:v>-1.17</c:v>
                </c:pt>
                <c:pt idx="30">
                  <c:v>-1.77</c:v>
                </c:pt>
                <c:pt idx="31">
                  <c:v>-2.64</c:v>
                </c:pt>
                <c:pt idx="32">
                  <c:v>-2.44</c:v>
                </c:pt>
              </c:numCache>
            </c:numRef>
          </c:val>
          <c:extLst>
            <c:ext xmlns:c16="http://schemas.microsoft.com/office/drawing/2014/chart" uri="{C3380CC4-5D6E-409C-BE32-E72D297353CC}">
              <c16:uniqueId val="{00000004-EC86-4F9C-B36C-605F218BDB3F}"/>
            </c:ext>
          </c:extLst>
        </c:ser>
        <c:ser>
          <c:idx val="5"/>
          <c:order val="5"/>
          <c:tx>
            <c:strRef>
              <c:f>økonomi!$A$90</c:f>
              <c:strCache>
                <c:ptCount val="1"/>
                <c:pt idx="0">
                  <c:v>Eksport af energiteknologi og -udstyr</c:v>
                </c:pt>
              </c:strCache>
            </c:strRef>
          </c:tx>
          <c:spPr>
            <a:solidFill>
              <a:schemeClr val="accent6"/>
            </a:solidFill>
            <a:ln>
              <a:noFill/>
            </a:ln>
            <a:effectLst/>
          </c:spPr>
          <c:cat>
            <c:strRef>
              <c:f>økonomi!$B$84:$AH$84</c:f>
              <c:strCache>
                <c:ptCount val="33"/>
                <c:pt idx="0">
                  <c:v>1980</c:v>
                </c:pt>
                <c:pt idx="1">
                  <c:v>'81</c:v>
                </c:pt>
                <c:pt idx="2">
                  <c:v>'82</c:v>
                </c:pt>
                <c:pt idx="3">
                  <c:v>'83</c:v>
                </c:pt>
                <c:pt idx="4">
                  <c:v>'84</c:v>
                </c:pt>
                <c:pt idx="5">
                  <c:v>'85</c:v>
                </c:pt>
                <c:pt idx="6">
                  <c:v>'86</c:v>
                </c:pt>
                <c:pt idx="7">
                  <c:v>'87</c:v>
                </c:pt>
                <c:pt idx="8">
                  <c:v>'88</c:v>
                </c:pt>
                <c:pt idx="9">
                  <c:v>'89</c:v>
                </c:pt>
                <c:pt idx="10">
                  <c:v>'90</c:v>
                </c:pt>
                <c:pt idx="11">
                  <c:v>'91</c:v>
                </c:pt>
                <c:pt idx="12">
                  <c:v>'92</c:v>
                </c:pt>
                <c:pt idx="13">
                  <c:v>'93</c:v>
                </c:pt>
                <c:pt idx="14">
                  <c:v>'94</c:v>
                </c:pt>
                <c:pt idx="15">
                  <c:v>'95</c:v>
                </c:pt>
                <c:pt idx="16">
                  <c:v>'96</c:v>
                </c:pt>
                <c:pt idx="17">
                  <c:v>'97</c:v>
                </c:pt>
                <c:pt idx="18">
                  <c:v>'98</c:v>
                </c:pt>
                <c:pt idx="19">
                  <c:v>'99</c:v>
                </c:pt>
                <c:pt idx="20">
                  <c:v>'00</c:v>
                </c:pt>
                <c:pt idx="21">
                  <c:v>'01</c:v>
                </c:pt>
                <c:pt idx="22">
                  <c:v>'02</c:v>
                </c:pt>
                <c:pt idx="23">
                  <c:v>'03</c:v>
                </c:pt>
                <c:pt idx="24">
                  <c:v>'04</c:v>
                </c:pt>
                <c:pt idx="25">
                  <c:v>'05</c:v>
                </c:pt>
                <c:pt idx="26">
                  <c:v>'06</c:v>
                </c:pt>
                <c:pt idx="27">
                  <c:v>'07</c:v>
                </c:pt>
                <c:pt idx="28">
                  <c:v>'08</c:v>
                </c:pt>
                <c:pt idx="29">
                  <c:v>'09</c:v>
                </c:pt>
                <c:pt idx="30">
                  <c:v>'10</c:v>
                </c:pt>
                <c:pt idx="31">
                  <c:v>'11</c:v>
                </c:pt>
                <c:pt idx="32">
                  <c:v>'12</c:v>
                </c:pt>
              </c:strCache>
            </c:strRef>
          </c:cat>
          <c:val>
            <c:numRef>
              <c:f>økonomi!$B$90:$AH$90</c:f>
              <c:numCache>
                <c:formatCode>General</c:formatCode>
                <c:ptCount val="33"/>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15.37</c:v>
                </c:pt>
                <c:pt idx="17">
                  <c:v>17.55</c:v>
                </c:pt>
                <c:pt idx="18">
                  <c:v>18.079999999999998</c:v>
                </c:pt>
                <c:pt idx="19">
                  <c:v>21.84</c:v>
                </c:pt>
                <c:pt idx="20">
                  <c:v>26.71</c:v>
                </c:pt>
                <c:pt idx="21">
                  <c:v>33.68</c:v>
                </c:pt>
                <c:pt idx="22">
                  <c:v>33.76</c:v>
                </c:pt>
                <c:pt idx="23">
                  <c:v>33.22</c:v>
                </c:pt>
                <c:pt idx="24">
                  <c:v>35.72</c:v>
                </c:pt>
                <c:pt idx="25">
                  <c:v>42.67</c:v>
                </c:pt>
                <c:pt idx="26">
                  <c:v>49.94</c:v>
                </c:pt>
                <c:pt idx="27">
                  <c:v>56.58</c:v>
                </c:pt>
                <c:pt idx="28">
                  <c:v>69.680000000000007</c:v>
                </c:pt>
                <c:pt idx="29">
                  <c:v>58.8</c:v>
                </c:pt>
                <c:pt idx="30">
                  <c:v>54.75</c:v>
                </c:pt>
                <c:pt idx="31">
                  <c:v>60.43</c:v>
                </c:pt>
                <c:pt idx="32">
                  <c:v>61.13</c:v>
                </c:pt>
              </c:numCache>
            </c:numRef>
          </c:val>
          <c:extLst>
            <c:ext xmlns:c16="http://schemas.microsoft.com/office/drawing/2014/chart" uri="{C3380CC4-5D6E-409C-BE32-E72D297353CC}">
              <c16:uniqueId val="{00000005-EC86-4F9C-B36C-605F218BDB3F}"/>
            </c:ext>
          </c:extLst>
        </c:ser>
        <c:dLbls>
          <c:showLegendKey val="0"/>
          <c:showVal val="0"/>
          <c:showCatName val="0"/>
          <c:showSerName val="0"/>
          <c:showPercent val="0"/>
          <c:showBubbleSize val="0"/>
        </c:dLbls>
        <c:axId val="374754616"/>
        <c:axId val="374755400"/>
      </c:areaChart>
      <c:lineChart>
        <c:grouping val="standard"/>
        <c:varyColors val="0"/>
        <c:ser>
          <c:idx val="6"/>
          <c:order val="6"/>
          <c:tx>
            <c:strRef>
              <c:f>økonomi!$A$92</c:f>
              <c:strCache>
                <c:ptCount val="1"/>
                <c:pt idx="0">
                  <c:v>Balance of payment</c:v>
                </c:pt>
              </c:strCache>
            </c:strRef>
          </c:tx>
          <c:spPr>
            <a:ln w="28575" cap="rnd">
              <a:solidFill>
                <a:schemeClr val="accent1">
                  <a:lumMod val="60000"/>
                </a:schemeClr>
              </a:solidFill>
              <a:round/>
            </a:ln>
            <a:effectLst/>
          </c:spPr>
          <c:marker>
            <c:symbol val="none"/>
          </c:marker>
          <c:cat>
            <c:strRef>
              <c:f>økonomi!$B$84:$AH$84</c:f>
              <c:strCache>
                <c:ptCount val="33"/>
                <c:pt idx="0">
                  <c:v>1980</c:v>
                </c:pt>
                <c:pt idx="1">
                  <c:v>'81</c:v>
                </c:pt>
                <c:pt idx="2">
                  <c:v>'82</c:v>
                </c:pt>
                <c:pt idx="3">
                  <c:v>'83</c:v>
                </c:pt>
                <c:pt idx="4">
                  <c:v>'84</c:v>
                </c:pt>
                <c:pt idx="5">
                  <c:v>'85</c:v>
                </c:pt>
                <c:pt idx="6">
                  <c:v>'86</c:v>
                </c:pt>
                <c:pt idx="7">
                  <c:v>'87</c:v>
                </c:pt>
                <c:pt idx="8">
                  <c:v>'88</c:v>
                </c:pt>
                <c:pt idx="9">
                  <c:v>'89</c:v>
                </c:pt>
                <c:pt idx="10">
                  <c:v>'90</c:v>
                </c:pt>
                <c:pt idx="11">
                  <c:v>'91</c:v>
                </c:pt>
                <c:pt idx="12">
                  <c:v>'92</c:v>
                </c:pt>
                <c:pt idx="13">
                  <c:v>'93</c:v>
                </c:pt>
                <c:pt idx="14">
                  <c:v>'94</c:v>
                </c:pt>
                <c:pt idx="15">
                  <c:v>'95</c:v>
                </c:pt>
                <c:pt idx="16">
                  <c:v>'96</c:v>
                </c:pt>
                <c:pt idx="17">
                  <c:v>'97</c:v>
                </c:pt>
                <c:pt idx="18">
                  <c:v>'98</c:v>
                </c:pt>
                <c:pt idx="19">
                  <c:v>'99</c:v>
                </c:pt>
                <c:pt idx="20">
                  <c:v>'00</c:v>
                </c:pt>
                <c:pt idx="21">
                  <c:v>'01</c:v>
                </c:pt>
                <c:pt idx="22">
                  <c:v>'02</c:v>
                </c:pt>
                <c:pt idx="23">
                  <c:v>'03</c:v>
                </c:pt>
                <c:pt idx="24">
                  <c:v>'04</c:v>
                </c:pt>
                <c:pt idx="25">
                  <c:v>'05</c:v>
                </c:pt>
                <c:pt idx="26">
                  <c:v>'06</c:v>
                </c:pt>
                <c:pt idx="27">
                  <c:v>'07</c:v>
                </c:pt>
                <c:pt idx="28">
                  <c:v>'08</c:v>
                </c:pt>
                <c:pt idx="29">
                  <c:v>'09</c:v>
                </c:pt>
                <c:pt idx="30">
                  <c:v>'10</c:v>
                </c:pt>
                <c:pt idx="31">
                  <c:v>'11</c:v>
                </c:pt>
                <c:pt idx="32">
                  <c:v>'12</c:v>
                </c:pt>
              </c:strCache>
            </c:strRef>
          </c:cat>
          <c:val>
            <c:numRef>
              <c:f>økonomi!$B$92:$AH$92</c:f>
              <c:numCache>
                <c:formatCode>General</c:formatCode>
                <c:ptCount val="33"/>
                <c:pt idx="0">
                  <c:v>-13</c:v>
                </c:pt>
                <c:pt idx="1">
                  <c:v>-12</c:v>
                </c:pt>
                <c:pt idx="2">
                  <c:v>-19</c:v>
                </c:pt>
                <c:pt idx="3">
                  <c:v>-13</c:v>
                </c:pt>
                <c:pt idx="4">
                  <c:v>-18</c:v>
                </c:pt>
                <c:pt idx="5">
                  <c:v>-29</c:v>
                </c:pt>
                <c:pt idx="6">
                  <c:v>-36</c:v>
                </c:pt>
                <c:pt idx="7">
                  <c:v>-20</c:v>
                </c:pt>
                <c:pt idx="8">
                  <c:v>-10.669</c:v>
                </c:pt>
                <c:pt idx="9">
                  <c:v>-12.385</c:v>
                </c:pt>
                <c:pt idx="10">
                  <c:v>3.4249999999999998</c:v>
                </c:pt>
                <c:pt idx="11">
                  <c:v>7.62</c:v>
                </c:pt>
                <c:pt idx="12">
                  <c:v>19.082999999999998</c:v>
                </c:pt>
                <c:pt idx="13">
                  <c:v>25.21</c:v>
                </c:pt>
                <c:pt idx="14">
                  <c:v>14.821</c:v>
                </c:pt>
                <c:pt idx="15">
                  <c:v>7.1529999999999996</c:v>
                </c:pt>
                <c:pt idx="16">
                  <c:v>15.436</c:v>
                </c:pt>
                <c:pt idx="17">
                  <c:v>6.8639999999999999</c:v>
                </c:pt>
                <c:pt idx="18">
                  <c:v>-9.9499999999999993</c:v>
                </c:pt>
                <c:pt idx="19">
                  <c:v>23.216000000000001</c:v>
                </c:pt>
                <c:pt idx="20">
                  <c:v>18.207999999999998</c:v>
                </c:pt>
                <c:pt idx="21">
                  <c:v>41.822000000000003</c:v>
                </c:pt>
                <c:pt idx="22">
                  <c:v>34.116</c:v>
                </c:pt>
                <c:pt idx="23">
                  <c:v>48.298000000000002</c:v>
                </c:pt>
                <c:pt idx="24">
                  <c:v>44.192999999999998</c:v>
                </c:pt>
                <c:pt idx="25">
                  <c:v>67.137</c:v>
                </c:pt>
                <c:pt idx="26">
                  <c:v>48.594000000000001</c:v>
                </c:pt>
                <c:pt idx="27">
                  <c:v>23.047999999999998</c:v>
                </c:pt>
                <c:pt idx="28">
                  <c:v>50.524000000000001</c:v>
                </c:pt>
                <c:pt idx="29">
                  <c:v>56.545999999999999</c:v>
                </c:pt>
                <c:pt idx="30">
                  <c:v>102.816</c:v>
                </c:pt>
                <c:pt idx="31">
                  <c:v>106.535</c:v>
                </c:pt>
                <c:pt idx="32">
                  <c:v>109.166</c:v>
                </c:pt>
              </c:numCache>
            </c:numRef>
          </c:val>
          <c:smooth val="0"/>
          <c:extLst>
            <c:ext xmlns:c16="http://schemas.microsoft.com/office/drawing/2014/chart" uri="{C3380CC4-5D6E-409C-BE32-E72D297353CC}">
              <c16:uniqueId val="{00000006-EC86-4F9C-B36C-605F218BDB3F}"/>
            </c:ext>
          </c:extLst>
        </c:ser>
        <c:dLbls>
          <c:showLegendKey val="0"/>
          <c:showVal val="0"/>
          <c:showCatName val="0"/>
          <c:showSerName val="0"/>
          <c:showPercent val="0"/>
          <c:showBubbleSize val="0"/>
        </c:dLbls>
        <c:marker val="1"/>
        <c:smooth val="0"/>
        <c:axId val="374754616"/>
        <c:axId val="374755400"/>
      </c:lineChart>
      <c:catAx>
        <c:axId val="3747546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a-DK"/>
          </a:p>
        </c:txPr>
        <c:crossAx val="374755400"/>
        <c:crosses val="autoZero"/>
        <c:auto val="1"/>
        <c:lblAlgn val="ctr"/>
        <c:lblOffset val="100"/>
        <c:noMultiLvlLbl val="0"/>
      </c:catAx>
      <c:valAx>
        <c:axId val="37475540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a-DK"/>
          </a:p>
        </c:txPr>
        <c:crossAx val="3747546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a-DK"/>
        </a:p>
      </c:txPr>
    </c:legend>
    <c:plotVisOnly val="1"/>
    <c:dispBlanksAs val="gap"/>
    <c:showDLblsOverMax val="0"/>
  </c:chart>
  <c:spPr>
    <a:noFill/>
    <a:ln>
      <a:noFill/>
    </a:ln>
    <a:effectLst/>
  </c:spPr>
  <c:txPr>
    <a:bodyPr/>
    <a:lstStyle/>
    <a:p>
      <a:pPr>
        <a:defRPr/>
      </a:pPr>
      <a:endParaRPr lang="da-DK"/>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A$3</c:f>
              <c:strCache>
                <c:ptCount val="1"/>
                <c:pt idx="0">
                  <c:v>Stuehuse</c:v>
                </c:pt>
              </c:strCache>
            </c:strRef>
          </c:tx>
          <c:spPr>
            <a:solidFill>
              <a:schemeClr val="accent1"/>
            </a:solidFill>
            <a:ln>
              <a:noFill/>
            </a:ln>
            <a:effectLst/>
          </c:spPr>
          <c:invertIfNegative val="0"/>
          <c:cat>
            <c:strRef>
              <c:f>Sheet1!$B$2:$J$2</c:f>
              <c:strCache>
                <c:ptCount val="9"/>
                <c:pt idx="0">
                  <c:v>Før 1850</c:v>
                </c:pt>
                <c:pt idx="1">
                  <c:v>1850-1930</c:v>
                </c:pt>
                <c:pt idx="2">
                  <c:v>1931-1950</c:v>
                </c:pt>
                <c:pt idx="3">
                  <c:v>1951-1960</c:v>
                </c:pt>
                <c:pt idx="4">
                  <c:v>1961-1972</c:v>
                </c:pt>
                <c:pt idx="5">
                  <c:v>1973-1978</c:v>
                </c:pt>
                <c:pt idx="6">
                  <c:v>1979-1998</c:v>
                </c:pt>
                <c:pt idx="7">
                  <c:v>1999-2006</c:v>
                </c:pt>
                <c:pt idx="8">
                  <c:v>Efter 2007</c:v>
                </c:pt>
              </c:strCache>
            </c:strRef>
          </c:cat>
          <c:val>
            <c:numRef>
              <c:f>Sheet1!$B$3:$J$3</c:f>
              <c:numCache>
                <c:formatCode>0%</c:formatCode>
                <c:ptCount val="9"/>
                <c:pt idx="0">
                  <c:v>0.46708355921869132</c:v>
                </c:pt>
                <c:pt idx="1">
                  <c:v>0.48136564153104239</c:v>
                </c:pt>
                <c:pt idx="2">
                  <c:v>0.48112036259938784</c:v>
                </c:pt>
                <c:pt idx="3">
                  <c:v>0.49007760237479031</c:v>
                </c:pt>
                <c:pt idx="4">
                  <c:v>0.41983858779905781</c:v>
                </c:pt>
                <c:pt idx="5">
                  <c:v>0.39124953769084581</c:v>
                </c:pt>
                <c:pt idx="6">
                  <c:v>0.34035906876157712</c:v>
                </c:pt>
                <c:pt idx="7">
                  <c:v>0.29982096155564086</c:v>
                </c:pt>
                <c:pt idx="8">
                  <c:v>0.29493523015174988</c:v>
                </c:pt>
              </c:numCache>
            </c:numRef>
          </c:val>
          <c:extLst xmlns="http://schemas.openxmlformats.org/drawingml/2006/chart">
            <c:ext xmlns:c16="http://schemas.microsoft.com/office/drawing/2014/chart" uri="{C3380CC4-5D6E-409C-BE32-E72D297353CC}">
              <c16:uniqueId val="{00000000-8490-4417-9527-48E186DFE52E}"/>
            </c:ext>
          </c:extLst>
        </c:ser>
        <c:ser>
          <c:idx val="1"/>
          <c:order val="1"/>
          <c:tx>
            <c:strRef>
              <c:f>Sheet1!$A$4</c:f>
              <c:strCache>
                <c:ptCount val="1"/>
                <c:pt idx="0">
                  <c:v>Parcelhuse</c:v>
                </c:pt>
              </c:strCache>
            </c:strRef>
          </c:tx>
          <c:spPr>
            <a:solidFill>
              <a:schemeClr val="accent2"/>
            </a:solidFill>
            <a:ln>
              <a:noFill/>
            </a:ln>
            <a:effectLst/>
          </c:spPr>
          <c:invertIfNegative val="0"/>
          <c:cat>
            <c:strRef>
              <c:f>Sheet1!$B$2:$J$2</c:f>
              <c:strCache>
                <c:ptCount val="9"/>
                <c:pt idx="0">
                  <c:v>Før 1850</c:v>
                </c:pt>
                <c:pt idx="1">
                  <c:v>1850-1930</c:v>
                </c:pt>
                <c:pt idx="2">
                  <c:v>1931-1950</c:v>
                </c:pt>
                <c:pt idx="3">
                  <c:v>1951-1960</c:v>
                </c:pt>
                <c:pt idx="4">
                  <c:v>1961-1972</c:v>
                </c:pt>
                <c:pt idx="5">
                  <c:v>1973-1978</c:v>
                </c:pt>
                <c:pt idx="6">
                  <c:v>1979-1998</c:v>
                </c:pt>
                <c:pt idx="7">
                  <c:v>1999-2006</c:v>
                </c:pt>
                <c:pt idx="8">
                  <c:v>Efter 2007</c:v>
                </c:pt>
              </c:strCache>
            </c:strRef>
          </c:cat>
          <c:val>
            <c:numRef>
              <c:f>Sheet1!$B$4:$J$4</c:f>
              <c:numCache>
                <c:formatCode>0%</c:formatCode>
                <c:ptCount val="9"/>
                <c:pt idx="0">
                  <c:v>0.42875298835749254</c:v>
                </c:pt>
                <c:pt idx="1">
                  <c:v>0.45639566035068158</c:v>
                </c:pt>
                <c:pt idx="2">
                  <c:v>0.44192399955562156</c:v>
                </c:pt>
                <c:pt idx="3">
                  <c:v>0.42502949728914219</c:v>
                </c:pt>
                <c:pt idx="4">
                  <c:v>0.39212375995817006</c:v>
                </c:pt>
                <c:pt idx="5">
                  <c:v>0.32788739449533255</c:v>
                </c:pt>
                <c:pt idx="6">
                  <c:v>0.32054809801032541</c:v>
                </c:pt>
                <c:pt idx="7">
                  <c:v>0.28388473808430886</c:v>
                </c:pt>
                <c:pt idx="8">
                  <c:v>0.27479931300835214</c:v>
                </c:pt>
              </c:numCache>
            </c:numRef>
          </c:val>
          <c:extLst xmlns="http://schemas.openxmlformats.org/drawingml/2006/chart">
            <c:ext xmlns:c16="http://schemas.microsoft.com/office/drawing/2014/chart" uri="{C3380CC4-5D6E-409C-BE32-E72D297353CC}">
              <c16:uniqueId val="{00000001-8490-4417-9527-48E186DFE52E}"/>
            </c:ext>
          </c:extLst>
        </c:ser>
        <c:ser>
          <c:idx val="2"/>
          <c:order val="2"/>
          <c:tx>
            <c:strRef>
              <c:f>Sheet1!$A$5</c:f>
              <c:strCache>
                <c:ptCount val="1"/>
                <c:pt idx="0">
                  <c:v>Rækkehuse</c:v>
                </c:pt>
              </c:strCache>
            </c:strRef>
          </c:tx>
          <c:spPr>
            <a:solidFill>
              <a:schemeClr val="accent3"/>
            </a:solidFill>
            <a:ln>
              <a:noFill/>
            </a:ln>
            <a:effectLst/>
          </c:spPr>
          <c:invertIfNegative val="0"/>
          <c:cat>
            <c:strRef>
              <c:f>Sheet1!$B$2:$J$2</c:f>
              <c:strCache>
                <c:ptCount val="9"/>
                <c:pt idx="0">
                  <c:v>Før 1850</c:v>
                </c:pt>
                <c:pt idx="1">
                  <c:v>1850-1930</c:v>
                </c:pt>
                <c:pt idx="2">
                  <c:v>1931-1950</c:v>
                </c:pt>
                <c:pt idx="3">
                  <c:v>1951-1960</c:v>
                </c:pt>
                <c:pt idx="4">
                  <c:v>1961-1972</c:v>
                </c:pt>
                <c:pt idx="5">
                  <c:v>1973-1978</c:v>
                </c:pt>
                <c:pt idx="6">
                  <c:v>1979-1998</c:v>
                </c:pt>
                <c:pt idx="7">
                  <c:v>1999-2006</c:v>
                </c:pt>
                <c:pt idx="8">
                  <c:v>Efter 2007</c:v>
                </c:pt>
              </c:strCache>
            </c:strRef>
          </c:cat>
          <c:val>
            <c:numRef>
              <c:f>Sheet1!$B$5:$J$5</c:f>
              <c:numCache>
                <c:formatCode>0%</c:formatCode>
                <c:ptCount val="9"/>
                <c:pt idx="0">
                  <c:v>0.44832663012968538</c:v>
                </c:pt>
                <c:pt idx="1">
                  <c:v>0.46882437241294017</c:v>
                </c:pt>
                <c:pt idx="2">
                  <c:v>0.44111056866477</c:v>
                </c:pt>
                <c:pt idx="3">
                  <c:v>0.45057483446261848</c:v>
                </c:pt>
                <c:pt idx="4">
                  <c:v>0.41902054484078144</c:v>
                </c:pt>
                <c:pt idx="5">
                  <c:v>0.411703087844844</c:v>
                </c:pt>
                <c:pt idx="6">
                  <c:v>0.32859332904629562</c:v>
                </c:pt>
                <c:pt idx="7">
                  <c:v>0.27706825994994488</c:v>
                </c:pt>
                <c:pt idx="8">
                  <c:v>0.2766663143727579</c:v>
                </c:pt>
              </c:numCache>
            </c:numRef>
          </c:val>
          <c:extLst xmlns="http://schemas.openxmlformats.org/drawingml/2006/chart">
            <c:ext xmlns:c16="http://schemas.microsoft.com/office/drawing/2014/chart" uri="{C3380CC4-5D6E-409C-BE32-E72D297353CC}">
              <c16:uniqueId val="{00000002-8490-4417-9527-48E186DFE52E}"/>
            </c:ext>
          </c:extLst>
        </c:ser>
        <c:ser>
          <c:idx val="3"/>
          <c:order val="3"/>
          <c:tx>
            <c:strRef>
              <c:f>Sheet1!$A$6</c:f>
              <c:strCache>
                <c:ptCount val="1"/>
                <c:pt idx="0">
                  <c:v>Etagebolig</c:v>
                </c:pt>
              </c:strCache>
            </c:strRef>
          </c:tx>
          <c:spPr>
            <a:solidFill>
              <a:schemeClr val="accent4"/>
            </a:solidFill>
            <a:ln>
              <a:noFill/>
            </a:ln>
            <a:effectLst/>
          </c:spPr>
          <c:invertIfNegative val="0"/>
          <c:cat>
            <c:strRef>
              <c:f>Sheet1!$B$2:$J$2</c:f>
              <c:strCache>
                <c:ptCount val="9"/>
                <c:pt idx="0">
                  <c:v>Før 1850</c:v>
                </c:pt>
                <c:pt idx="1">
                  <c:v>1850-1930</c:v>
                </c:pt>
                <c:pt idx="2">
                  <c:v>1931-1950</c:v>
                </c:pt>
                <c:pt idx="3">
                  <c:v>1951-1960</c:v>
                </c:pt>
                <c:pt idx="4">
                  <c:v>1961-1972</c:v>
                </c:pt>
                <c:pt idx="5">
                  <c:v>1973-1978</c:v>
                </c:pt>
                <c:pt idx="6">
                  <c:v>1979-1998</c:v>
                </c:pt>
                <c:pt idx="7">
                  <c:v>1999-2006</c:v>
                </c:pt>
                <c:pt idx="8">
                  <c:v>Efter 2007</c:v>
                </c:pt>
              </c:strCache>
            </c:strRef>
          </c:cat>
          <c:val>
            <c:numRef>
              <c:f>Sheet1!$B$6:$J$6</c:f>
              <c:numCache>
                <c:formatCode>0%</c:formatCode>
                <c:ptCount val="9"/>
                <c:pt idx="0">
                  <c:v>0.37438180780782165</c:v>
                </c:pt>
                <c:pt idx="1">
                  <c:v>0.39939470498170815</c:v>
                </c:pt>
                <c:pt idx="2">
                  <c:v>0.40816914579280189</c:v>
                </c:pt>
                <c:pt idx="3">
                  <c:v>0.41381285967231646</c:v>
                </c:pt>
                <c:pt idx="4">
                  <c:v>0.42517743683840425</c:v>
                </c:pt>
                <c:pt idx="5">
                  <c:v>0.40811745095139407</c:v>
                </c:pt>
                <c:pt idx="6">
                  <c:v>0.33009430658901329</c:v>
                </c:pt>
                <c:pt idx="7">
                  <c:v>0.28183537489287264</c:v>
                </c:pt>
                <c:pt idx="8">
                  <c:v>0.29552321397248504</c:v>
                </c:pt>
              </c:numCache>
            </c:numRef>
          </c:val>
          <c:extLst xmlns="http://schemas.openxmlformats.org/drawingml/2006/chart">
            <c:ext xmlns:c16="http://schemas.microsoft.com/office/drawing/2014/chart" uri="{C3380CC4-5D6E-409C-BE32-E72D297353CC}">
              <c16:uniqueId val="{00000003-8490-4417-9527-48E186DFE52E}"/>
            </c:ext>
          </c:extLst>
        </c:ser>
        <c:ser>
          <c:idx val="4"/>
          <c:order val="4"/>
          <c:tx>
            <c:strRef>
              <c:f>Sheet1!$A$7</c:f>
              <c:strCache>
                <c:ptCount val="1"/>
                <c:pt idx="0">
                  <c:v>Intitution</c:v>
                </c:pt>
              </c:strCache>
            </c:strRef>
          </c:tx>
          <c:spPr>
            <a:solidFill>
              <a:schemeClr val="accent5"/>
            </a:solidFill>
            <a:ln>
              <a:noFill/>
            </a:ln>
            <a:effectLst/>
          </c:spPr>
          <c:invertIfNegative val="0"/>
          <c:cat>
            <c:strRef>
              <c:f>Sheet1!$B$2:$J$2</c:f>
              <c:strCache>
                <c:ptCount val="9"/>
                <c:pt idx="0">
                  <c:v>Før 1850</c:v>
                </c:pt>
                <c:pt idx="1">
                  <c:v>1850-1930</c:v>
                </c:pt>
                <c:pt idx="2">
                  <c:v>1931-1950</c:v>
                </c:pt>
                <c:pt idx="3">
                  <c:v>1951-1960</c:v>
                </c:pt>
                <c:pt idx="4">
                  <c:v>1961-1972</c:v>
                </c:pt>
                <c:pt idx="5">
                  <c:v>1973-1978</c:v>
                </c:pt>
                <c:pt idx="6">
                  <c:v>1979-1998</c:v>
                </c:pt>
                <c:pt idx="7">
                  <c:v>1999-2006</c:v>
                </c:pt>
                <c:pt idx="8">
                  <c:v>Efter 2007</c:v>
                </c:pt>
              </c:strCache>
            </c:strRef>
          </c:cat>
          <c:val>
            <c:numRef>
              <c:f>Sheet1!$B$7:$J$7</c:f>
              <c:numCache>
                <c:formatCode>0%</c:formatCode>
                <c:ptCount val="9"/>
                <c:pt idx="0">
                  <c:v>0.41596985403181558</c:v>
                </c:pt>
                <c:pt idx="1">
                  <c:v>0.4345560008777275</c:v>
                </c:pt>
                <c:pt idx="2">
                  <c:v>0.47990042476274458</c:v>
                </c:pt>
                <c:pt idx="3">
                  <c:v>0.48359724104710855</c:v>
                </c:pt>
                <c:pt idx="4">
                  <c:v>0.44043937051073284</c:v>
                </c:pt>
                <c:pt idx="5">
                  <c:v>0.39722114598152303</c:v>
                </c:pt>
                <c:pt idx="6">
                  <c:v>0.35355522139895629</c:v>
                </c:pt>
                <c:pt idx="7">
                  <c:v>0.30747461928849928</c:v>
                </c:pt>
                <c:pt idx="8">
                  <c:v>0.27550640428380968</c:v>
                </c:pt>
              </c:numCache>
            </c:numRef>
          </c:val>
          <c:extLst xmlns="http://schemas.openxmlformats.org/drawingml/2006/chart">
            <c:ext xmlns:c16="http://schemas.microsoft.com/office/drawing/2014/chart" uri="{C3380CC4-5D6E-409C-BE32-E72D297353CC}">
              <c16:uniqueId val="{00000004-8490-4417-9527-48E186DFE52E}"/>
            </c:ext>
          </c:extLst>
        </c:ser>
        <c:ser>
          <c:idx val="5"/>
          <c:order val="5"/>
          <c:tx>
            <c:strRef>
              <c:f>Sheet1!$A$8</c:f>
              <c:strCache>
                <c:ptCount val="1"/>
                <c:pt idx="0">
                  <c:v>Kontor</c:v>
                </c:pt>
              </c:strCache>
            </c:strRef>
          </c:tx>
          <c:spPr>
            <a:solidFill>
              <a:schemeClr val="accent6"/>
            </a:solidFill>
            <a:ln>
              <a:noFill/>
            </a:ln>
            <a:effectLst/>
          </c:spPr>
          <c:invertIfNegative val="0"/>
          <c:cat>
            <c:strRef>
              <c:f>Sheet1!$B$2:$J$2</c:f>
              <c:strCache>
                <c:ptCount val="9"/>
                <c:pt idx="0">
                  <c:v>Før 1850</c:v>
                </c:pt>
                <c:pt idx="1">
                  <c:v>1850-1930</c:v>
                </c:pt>
                <c:pt idx="2">
                  <c:v>1931-1950</c:v>
                </c:pt>
                <c:pt idx="3">
                  <c:v>1951-1960</c:v>
                </c:pt>
                <c:pt idx="4">
                  <c:v>1961-1972</c:v>
                </c:pt>
                <c:pt idx="5">
                  <c:v>1973-1978</c:v>
                </c:pt>
                <c:pt idx="6">
                  <c:v>1979-1998</c:v>
                </c:pt>
                <c:pt idx="7">
                  <c:v>1999-2006</c:v>
                </c:pt>
                <c:pt idx="8">
                  <c:v>Efter 2007</c:v>
                </c:pt>
              </c:strCache>
            </c:strRef>
          </c:cat>
          <c:val>
            <c:numRef>
              <c:f>Sheet1!$B$8:$J$8</c:f>
              <c:numCache>
                <c:formatCode>0%</c:formatCode>
                <c:ptCount val="9"/>
                <c:pt idx="0">
                  <c:v>0.38639180083093361</c:v>
                </c:pt>
                <c:pt idx="1">
                  <c:v>0.41731666765499675</c:v>
                </c:pt>
                <c:pt idx="2">
                  <c:v>0.45125619379556836</c:v>
                </c:pt>
                <c:pt idx="3">
                  <c:v>0.44769614171765332</c:v>
                </c:pt>
                <c:pt idx="4">
                  <c:v>0.4334088689544876</c:v>
                </c:pt>
                <c:pt idx="5">
                  <c:v>0.40661932286408881</c:v>
                </c:pt>
                <c:pt idx="6">
                  <c:v>0.35049327573576161</c:v>
                </c:pt>
                <c:pt idx="7">
                  <c:v>0.33459205561872296</c:v>
                </c:pt>
                <c:pt idx="8">
                  <c:v>0.33433213536694839</c:v>
                </c:pt>
              </c:numCache>
            </c:numRef>
          </c:val>
          <c:extLst xmlns="http://schemas.openxmlformats.org/drawingml/2006/chart">
            <c:ext xmlns:c16="http://schemas.microsoft.com/office/drawing/2014/chart" uri="{C3380CC4-5D6E-409C-BE32-E72D297353CC}">
              <c16:uniqueId val="{00000005-8490-4417-9527-48E186DFE52E}"/>
            </c:ext>
          </c:extLst>
        </c:ser>
        <c:dLbls>
          <c:showLegendKey val="0"/>
          <c:showVal val="0"/>
          <c:showCatName val="0"/>
          <c:showSerName val="0"/>
          <c:showPercent val="0"/>
          <c:showBubbleSize val="0"/>
        </c:dLbls>
        <c:gapWidth val="219"/>
        <c:overlap val="-27"/>
        <c:axId val="1667380800"/>
        <c:axId val="1722439440"/>
      </c:barChart>
      <c:catAx>
        <c:axId val="1667380800"/>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dk1"/>
                    </a:solidFill>
                    <a:latin typeface="+mn-lt"/>
                    <a:ea typeface="+mn-ea"/>
                    <a:cs typeface="+mn-cs"/>
                  </a:defRPr>
                </a:pPr>
                <a:r>
                  <a:rPr lang="en-GB"/>
                  <a:t>Alder</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dk1"/>
                  </a:solidFill>
                  <a:latin typeface="+mn-lt"/>
                  <a:ea typeface="+mn-ea"/>
                  <a:cs typeface="+mn-cs"/>
                </a:defRPr>
              </a:pPr>
              <a:endParaRPr lang="da-DK"/>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da-DK"/>
          </a:p>
        </c:txPr>
        <c:crossAx val="1722439440"/>
        <c:crosses val="autoZero"/>
        <c:auto val="1"/>
        <c:lblAlgn val="ctr"/>
        <c:lblOffset val="100"/>
        <c:noMultiLvlLbl val="0"/>
      </c:catAx>
      <c:valAx>
        <c:axId val="172243944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dk1"/>
                    </a:solidFill>
                    <a:latin typeface="+mn-lt"/>
                    <a:ea typeface="+mn-ea"/>
                    <a:cs typeface="+mn-cs"/>
                  </a:defRPr>
                </a:pPr>
                <a:r>
                  <a:rPr lang="en-GB"/>
                  <a:t>Besparelsesprocent</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dk1"/>
                  </a:solidFill>
                  <a:latin typeface="+mn-lt"/>
                  <a:ea typeface="+mn-ea"/>
                  <a:cs typeface="+mn-cs"/>
                </a:defRPr>
              </a:pPr>
              <a:endParaRPr lang="da-DK"/>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da-DK"/>
          </a:p>
        </c:txPr>
        <c:crossAx val="16673808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da-DK"/>
        </a:p>
      </c:txPr>
    </c:legend>
    <c:plotVisOnly val="1"/>
    <c:dispBlanksAs val="gap"/>
    <c:showDLblsOverMax val="0"/>
  </c:chart>
  <c:spPr>
    <a:solidFill>
      <a:schemeClr val="lt1"/>
    </a:solidFill>
    <a:ln w="12700" cap="flat" cmpd="sng" algn="ctr">
      <a:solidFill>
        <a:schemeClr val="dk1"/>
      </a:solidFill>
      <a:prstDash val="solid"/>
      <a:miter lim="800000"/>
    </a:ln>
    <a:effectLst/>
  </c:spPr>
  <c:txPr>
    <a:bodyPr/>
    <a:lstStyle/>
    <a:p>
      <a:pPr>
        <a:defRPr>
          <a:solidFill>
            <a:schemeClr val="dk1"/>
          </a:solidFill>
          <a:latin typeface="+mn-lt"/>
          <a:ea typeface="+mn-ea"/>
          <a:cs typeface="+mn-cs"/>
        </a:defRPr>
      </a:pPr>
      <a:endParaRPr lang="da-DK"/>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3BE7385-FF75-4069-BDC0-738DF4D90DCA}"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CBFC71F0-B468-46CB-B6ED-1D98E1BB31F8}">
      <dgm:prSet phldrT="[Text]"/>
      <dgm:spPr/>
      <dgm:t>
        <a:bodyPr/>
        <a:lstStyle/>
        <a:p>
          <a:pPr>
            <a:buFont typeface="+mj-lt"/>
            <a:buAutoNum type="arabicPeriod"/>
          </a:pPr>
          <a:r>
            <a:rPr lang="da-DK"/>
            <a:t>Varmebehov i bygninger</a:t>
          </a:r>
          <a:endParaRPr lang="en-US"/>
        </a:p>
      </dgm:t>
    </dgm:pt>
    <dgm:pt modelId="{18402670-B1D1-4A21-9096-28C8AB5890CE}" type="parTrans" cxnId="{F86E6AD4-05C0-4D3F-BC6B-9D95E3294CE2}">
      <dgm:prSet/>
      <dgm:spPr/>
      <dgm:t>
        <a:bodyPr/>
        <a:lstStyle/>
        <a:p>
          <a:endParaRPr lang="en-US"/>
        </a:p>
      </dgm:t>
    </dgm:pt>
    <dgm:pt modelId="{FFE812DA-389F-4C17-B1D1-17E4E7C10B5A}" type="sibTrans" cxnId="{F86E6AD4-05C0-4D3F-BC6B-9D95E3294CE2}">
      <dgm:prSet/>
      <dgm:spPr/>
      <dgm:t>
        <a:bodyPr/>
        <a:lstStyle/>
        <a:p>
          <a:endParaRPr lang="en-US"/>
        </a:p>
      </dgm:t>
    </dgm:pt>
    <dgm:pt modelId="{5324C2E3-6980-497E-ACE0-DF4B769F65B5}">
      <dgm:prSet/>
      <dgm:spPr/>
      <dgm:t>
        <a:bodyPr/>
        <a:lstStyle/>
        <a:p>
          <a:r>
            <a:rPr lang="da-DK"/>
            <a:t>Varmbesparelser i bygninger</a:t>
          </a:r>
          <a:endParaRPr lang="da-DK" dirty="0"/>
        </a:p>
      </dgm:t>
    </dgm:pt>
    <dgm:pt modelId="{63F6D74A-EFE3-4C73-80C0-39B18729C5E1}" type="parTrans" cxnId="{7AB62E04-B011-44C6-84F4-1A18BBDC8B6E}">
      <dgm:prSet/>
      <dgm:spPr/>
      <dgm:t>
        <a:bodyPr/>
        <a:lstStyle/>
        <a:p>
          <a:endParaRPr lang="en-US"/>
        </a:p>
      </dgm:t>
    </dgm:pt>
    <dgm:pt modelId="{D9C8F737-4309-4031-97DF-B318417453B6}" type="sibTrans" cxnId="{7AB62E04-B011-44C6-84F4-1A18BBDC8B6E}">
      <dgm:prSet/>
      <dgm:spPr/>
      <dgm:t>
        <a:bodyPr/>
        <a:lstStyle/>
        <a:p>
          <a:endParaRPr lang="en-US"/>
        </a:p>
      </dgm:t>
    </dgm:pt>
    <dgm:pt modelId="{29EFD0B4-BB97-4635-ABC3-F33B81644189}">
      <dgm:prSet/>
      <dgm:spPr/>
      <dgm:t>
        <a:bodyPr/>
        <a:lstStyle/>
        <a:p>
          <a:r>
            <a:rPr lang="da-DK" dirty="0"/>
            <a:t>Fjernvarme udvidelser</a:t>
          </a:r>
        </a:p>
      </dgm:t>
    </dgm:pt>
    <dgm:pt modelId="{C6525726-FDC7-49C7-99CC-2CD53C5E6264}" type="parTrans" cxnId="{8F6C829C-A797-4DA9-A7E4-6010146AD58C}">
      <dgm:prSet/>
      <dgm:spPr/>
      <dgm:t>
        <a:bodyPr/>
        <a:lstStyle/>
        <a:p>
          <a:endParaRPr lang="en-US"/>
        </a:p>
      </dgm:t>
    </dgm:pt>
    <dgm:pt modelId="{FC9E336B-B88E-4F7A-BACE-DFD77B3A14A9}" type="sibTrans" cxnId="{8F6C829C-A797-4DA9-A7E4-6010146AD58C}">
      <dgm:prSet/>
      <dgm:spPr/>
      <dgm:t>
        <a:bodyPr/>
        <a:lstStyle/>
        <a:p>
          <a:endParaRPr lang="en-US"/>
        </a:p>
      </dgm:t>
    </dgm:pt>
    <dgm:pt modelId="{54BD9766-5424-4F85-8027-1984ABFB552F}">
      <dgm:prSet/>
      <dgm:spPr/>
      <dgm:t>
        <a:bodyPr/>
        <a:lstStyle/>
        <a:p>
          <a:r>
            <a:rPr lang="da-DK" dirty="0"/>
            <a:t>Fjernvarme sammenkobling</a:t>
          </a:r>
        </a:p>
      </dgm:t>
    </dgm:pt>
    <dgm:pt modelId="{453E1192-8762-4D01-92CE-5CDE389091D0}" type="parTrans" cxnId="{B0872526-FE93-4861-8445-320803EB9869}">
      <dgm:prSet/>
      <dgm:spPr/>
      <dgm:t>
        <a:bodyPr/>
        <a:lstStyle/>
        <a:p>
          <a:endParaRPr lang="en-US"/>
        </a:p>
      </dgm:t>
    </dgm:pt>
    <dgm:pt modelId="{57C19BD9-687A-4728-9985-587C765863C6}" type="sibTrans" cxnId="{B0872526-FE93-4861-8445-320803EB9869}">
      <dgm:prSet/>
      <dgm:spPr/>
      <dgm:t>
        <a:bodyPr/>
        <a:lstStyle/>
        <a:p>
          <a:endParaRPr lang="en-US"/>
        </a:p>
      </dgm:t>
    </dgm:pt>
    <dgm:pt modelId="{006386AC-C7C5-4E24-A60E-2F232F962BE0}">
      <dgm:prSet/>
      <dgm:spPr/>
      <dgm:t>
        <a:bodyPr/>
        <a:lstStyle/>
        <a:p>
          <a:r>
            <a:rPr lang="da-DK"/>
            <a:t>Overskudsvarme fra industri</a:t>
          </a:r>
          <a:endParaRPr lang="da-DK" dirty="0"/>
        </a:p>
      </dgm:t>
    </dgm:pt>
    <dgm:pt modelId="{88403DFF-4659-4558-A67E-C06F479A3CDD}" type="parTrans" cxnId="{7400AA30-D2DF-48CB-8C2C-167CAEAC2772}">
      <dgm:prSet/>
      <dgm:spPr/>
      <dgm:t>
        <a:bodyPr/>
        <a:lstStyle/>
        <a:p>
          <a:endParaRPr lang="en-US"/>
        </a:p>
      </dgm:t>
    </dgm:pt>
    <dgm:pt modelId="{7A57BAC7-F0A8-4B39-AC37-D5095ED028BD}" type="sibTrans" cxnId="{7400AA30-D2DF-48CB-8C2C-167CAEAC2772}">
      <dgm:prSet/>
      <dgm:spPr/>
      <dgm:t>
        <a:bodyPr/>
        <a:lstStyle/>
        <a:p>
          <a:endParaRPr lang="en-US"/>
        </a:p>
      </dgm:t>
    </dgm:pt>
    <dgm:pt modelId="{0DF88F94-A25C-494A-9B9F-3CC4C6B5845D}">
      <dgm:prSet/>
      <dgm:spPr/>
      <dgm:t>
        <a:bodyPr/>
        <a:lstStyle/>
        <a:p>
          <a:r>
            <a:rPr lang="da-DK"/>
            <a:t>Geotermi til fjernvarme</a:t>
          </a:r>
          <a:endParaRPr lang="da-DK" dirty="0"/>
        </a:p>
      </dgm:t>
    </dgm:pt>
    <dgm:pt modelId="{ECB8B438-4098-411B-BD3E-3BA8831B9297}" type="parTrans" cxnId="{D9F1C766-F252-4623-B89F-91889530E6FB}">
      <dgm:prSet/>
      <dgm:spPr/>
      <dgm:t>
        <a:bodyPr/>
        <a:lstStyle/>
        <a:p>
          <a:endParaRPr lang="en-US"/>
        </a:p>
      </dgm:t>
    </dgm:pt>
    <dgm:pt modelId="{0A739C65-8A6B-488C-899A-46E4CF376A53}" type="sibTrans" cxnId="{D9F1C766-F252-4623-B89F-91889530E6FB}">
      <dgm:prSet/>
      <dgm:spPr/>
      <dgm:t>
        <a:bodyPr/>
        <a:lstStyle/>
        <a:p>
          <a:endParaRPr lang="en-US"/>
        </a:p>
      </dgm:t>
    </dgm:pt>
    <dgm:pt modelId="{031688E5-90D7-4A19-9C9F-0489FF9056F7}">
      <dgm:prSet/>
      <dgm:spPr/>
      <dgm:t>
        <a:bodyPr/>
        <a:lstStyle/>
        <a:p>
          <a:r>
            <a:rPr lang="da-DK" dirty="0"/>
            <a:t>Grundlastkapacitet i fjernvarmeområderne</a:t>
          </a:r>
          <a:endParaRPr lang="en-GB" dirty="0"/>
        </a:p>
      </dgm:t>
    </dgm:pt>
    <dgm:pt modelId="{0DFEF0CF-F3B0-4659-9810-4CE0375DFAC1}" type="parTrans" cxnId="{181FB6CE-7307-4351-B9EF-F23C9AD66474}">
      <dgm:prSet/>
      <dgm:spPr/>
      <dgm:t>
        <a:bodyPr/>
        <a:lstStyle/>
        <a:p>
          <a:endParaRPr lang="en-US"/>
        </a:p>
      </dgm:t>
    </dgm:pt>
    <dgm:pt modelId="{42799EA7-93C3-4533-8F9D-9C986C4F959C}" type="sibTrans" cxnId="{181FB6CE-7307-4351-B9EF-F23C9AD66474}">
      <dgm:prSet/>
      <dgm:spPr/>
      <dgm:t>
        <a:bodyPr/>
        <a:lstStyle/>
        <a:p>
          <a:endParaRPr lang="en-US"/>
        </a:p>
      </dgm:t>
    </dgm:pt>
    <dgm:pt modelId="{6DD9270C-843B-4698-A796-E4409F116DE6}" type="pres">
      <dgm:prSet presAssocID="{53BE7385-FF75-4069-BDC0-738DF4D90DCA}" presName="diagram" presStyleCnt="0">
        <dgm:presLayoutVars>
          <dgm:dir/>
          <dgm:resizeHandles val="exact"/>
        </dgm:presLayoutVars>
      </dgm:prSet>
      <dgm:spPr/>
    </dgm:pt>
    <dgm:pt modelId="{BA789D24-C7FA-41DD-A7FF-710B73D5AFF2}" type="pres">
      <dgm:prSet presAssocID="{CBFC71F0-B468-46CB-B6ED-1D98E1BB31F8}" presName="node" presStyleLbl="node1" presStyleIdx="0" presStyleCnt="7">
        <dgm:presLayoutVars>
          <dgm:bulletEnabled val="1"/>
        </dgm:presLayoutVars>
      </dgm:prSet>
      <dgm:spPr/>
    </dgm:pt>
    <dgm:pt modelId="{F0A25913-2E03-4EEE-B9FA-31EA02247DC1}" type="pres">
      <dgm:prSet presAssocID="{FFE812DA-389F-4C17-B1D1-17E4E7C10B5A}" presName="sibTrans" presStyleCnt="0"/>
      <dgm:spPr/>
    </dgm:pt>
    <dgm:pt modelId="{4CB2146D-9528-4B35-8D72-56A84E4DFAE5}" type="pres">
      <dgm:prSet presAssocID="{5324C2E3-6980-497E-ACE0-DF4B769F65B5}" presName="node" presStyleLbl="node1" presStyleIdx="1" presStyleCnt="7">
        <dgm:presLayoutVars>
          <dgm:bulletEnabled val="1"/>
        </dgm:presLayoutVars>
      </dgm:prSet>
      <dgm:spPr/>
    </dgm:pt>
    <dgm:pt modelId="{A0E9D41C-C3CE-42F6-9706-60C7D09FB897}" type="pres">
      <dgm:prSet presAssocID="{D9C8F737-4309-4031-97DF-B318417453B6}" presName="sibTrans" presStyleCnt="0"/>
      <dgm:spPr/>
    </dgm:pt>
    <dgm:pt modelId="{4A07E7A8-3CC9-4A65-9423-F18AA28675D9}" type="pres">
      <dgm:prSet presAssocID="{29EFD0B4-BB97-4635-ABC3-F33B81644189}" presName="node" presStyleLbl="node1" presStyleIdx="2" presStyleCnt="7">
        <dgm:presLayoutVars>
          <dgm:bulletEnabled val="1"/>
        </dgm:presLayoutVars>
      </dgm:prSet>
      <dgm:spPr/>
    </dgm:pt>
    <dgm:pt modelId="{3CE3259F-DD17-411B-9227-D14787864648}" type="pres">
      <dgm:prSet presAssocID="{FC9E336B-B88E-4F7A-BACE-DFD77B3A14A9}" presName="sibTrans" presStyleCnt="0"/>
      <dgm:spPr/>
    </dgm:pt>
    <dgm:pt modelId="{08B71A3E-79D5-4440-8052-C3EA780BB7E7}" type="pres">
      <dgm:prSet presAssocID="{54BD9766-5424-4F85-8027-1984ABFB552F}" presName="node" presStyleLbl="node1" presStyleIdx="3" presStyleCnt="7">
        <dgm:presLayoutVars>
          <dgm:bulletEnabled val="1"/>
        </dgm:presLayoutVars>
      </dgm:prSet>
      <dgm:spPr/>
    </dgm:pt>
    <dgm:pt modelId="{73BF82ED-622C-4750-878D-27C6E0F5E122}" type="pres">
      <dgm:prSet presAssocID="{57C19BD9-687A-4728-9985-587C765863C6}" presName="sibTrans" presStyleCnt="0"/>
      <dgm:spPr/>
    </dgm:pt>
    <dgm:pt modelId="{58F0CF2A-6FDD-45AB-B844-BE601FDB3E28}" type="pres">
      <dgm:prSet presAssocID="{006386AC-C7C5-4E24-A60E-2F232F962BE0}" presName="node" presStyleLbl="node1" presStyleIdx="4" presStyleCnt="7">
        <dgm:presLayoutVars>
          <dgm:bulletEnabled val="1"/>
        </dgm:presLayoutVars>
      </dgm:prSet>
      <dgm:spPr/>
    </dgm:pt>
    <dgm:pt modelId="{91F3A303-C70E-4F0A-8EAB-42B647981D79}" type="pres">
      <dgm:prSet presAssocID="{7A57BAC7-F0A8-4B39-AC37-D5095ED028BD}" presName="sibTrans" presStyleCnt="0"/>
      <dgm:spPr/>
    </dgm:pt>
    <dgm:pt modelId="{58E076F5-F3F2-4923-95F8-41DD6449AAF2}" type="pres">
      <dgm:prSet presAssocID="{0DF88F94-A25C-494A-9B9F-3CC4C6B5845D}" presName="node" presStyleLbl="node1" presStyleIdx="5" presStyleCnt="7">
        <dgm:presLayoutVars>
          <dgm:bulletEnabled val="1"/>
        </dgm:presLayoutVars>
      </dgm:prSet>
      <dgm:spPr/>
    </dgm:pt>
    <dgm:pt modelId="{5BE38C0D-FF32-4887-A7DE-2E32E9E58371}" type="pres">
      <dgm:prSet presAssocID="{0A739C65-8A6B-488C-899A-46E4CF376A53}" presName="sibTrans" presStyleCnt="0"/>
      <dgm:spPr/>
    </dgm:pt>
    <dgm:pt modelId="{9F383E3A-789A-4028-9BA8-4E1111F96143}" type="pres">
      <dgm:prSet presAssocID="{031688E5-90D7-4A19-9C9F-0489FF9056F7}" presName="node" presStyleLbl="node1" presStyleIdx="6" presStyleCnt="7">
        <dgm:presLayoutVars>
          <dgm:bulletEnabled val="1"/>
        </dgm:presLayoutVars>
      </dgm:prSet>
      <dgm:spPr/>
    </dgm:pt>
  </dgm:ptLst>
  <dgm:cxnLst>
    <dgm:cxn modelId="{7AB62E04-B011-44C6-84F4-1A18BBDC8B6E}" srcId="{53BE7385-FF75-4069-BDC0-738DF4D90DCA}" destId="{5324C2E3-6980-497E-ACE0-DF4B769F65B5}" srcOrd="1" destOrd="0" parTransId="{63F6D74A-EFE3-4C73-80C0-39B18729C5E1}" sibTransId="{D9C8F737-4309-4031-97DF-B318417453B6}"/>
    <dgm:cxn modelId="{E7F8FA11-0BF5-4B68-9FED-6CC020A9AEE3}" type="presOf" srcId="{0DF88F94-A25C-494A-9B9F-3CC4C6B5845D}" destId="{58E076F5-F3F2-4923-95F8-41DD6449AAF2}" srcOrd="0" destOrd="0" presId="urn:microsoft.com/office/officeart/2005/8/layout/default"/>
    <dgm:cxn modelId="{B0872526-FE93-4861-8445-320803EB9869}" srcId="{53BE7385-FF75-4069-BDC0-738DF4D90DCA}" destId="{54BD9766-5424-4F85-8027-1984ABFB552F}" srcOrd="3" destOrd="0" parTransId="{453E1192-8762-4D01-92CE-5CDE389091D0}" sibTransId="{57C19BD9-687A-4728-9985-587C765863C6}"/>
    <dgm:cxn modelId="{7400AA30-D2DF-48CB-8C2C-167CAEAC2772}" srcId="{53BE7385-FF75-4069-BDC0-738DF4D90DCA}" destId="{006386AC-C7C5-4E24-A60E-2F232F962BE0}" srcOrd="4" destOrd="0" parTransId="{88403DFF-4659-4558-A67E-C06F479A3CDD}" sibTransId="{7A57BAC7-F0A8-4B39-AC37-D5095ED028BD}"/>
    <dgm:cxn modelId="{3A3D1536-2AC3-429F-9B39-0D417F3BAC98}" type="presOf" srcId="{54BD9766-5424-4F85-8027-1984ABFB552F}" destId="{08B71A3E-79D5-4440-8052-C3EA780BB7E7}" srcOrd="0" destOrd="0" presId="urn:microsoft.com/office/officeart/2005/8/layout/default"/>
    <dgm:cxn modelId="{D9F1C766-F252-4623-B89F-91889530E6FB}" srcId="{53BE7385-FF75-4069-BDC0-738DF4D90DCA}" destId="{0DF88F94-A25C-494A-9B9F-3CC4C6B5845D}" srcOrd="5" destOrd="0" parTransId="{ECB8B438-4098-411B-BD3E-3BA8831B9297}" sibTransId="{0A739C65-8A6B-488C-899A-46E4CF376A53}"/>
    <dgm:cxn modelId="{66FAE149-F612-45F7-BB71-63FEABD30EC9}" type="presOf" srcId="{006386AC-C7C5-4E24-A60E-2F232F962BE0}" destId="{58F0CF2A-6FDD-45AB-B844-BE601FDB3E28}" srcOrd="0" destOrd="0" presId="urn:microsoft.com/office/officeart/2005/8/layout/default"/>
    <dgm:cxn modelId="{80F21770-61D9-4C84-98EB-756374F7FF98}" type="presOf" srcId="{031688E5-90D7-4A19-9C9F-0489FF9056F7}" destId="{9F383E3A-789A-4028-9BA8-4E1111F96143}" srcOrd="0" destOrd="0" presId="urn:microsoft.com/office/officeart/2005/8/layout/default"/>
    <dgm:cxn modelId="{8F6C829C-A797-4DA9-A7E4-6010146AD58C}" srcId="{53BE7385-FF75-4069-BDC0-738DF4D90DCA}" destId="{29EFD0B4-BB97-4635-ABC3-F33B81644189}" srcOrd="2" destOrd="0" parTransId="{C6525726-FDC7-49C7-99CC-2CD53C5E6264}" sibTransId="{FC9E336B-B88E-4F7A-BACE-DFD77B3A14A9}"/>
    <dgm:cxn modelId="{E6B89FAE-C36A-440C-B9EC-49A77FDF8CC3}" type="presOf" srcId="{5324C2E3-6980-497E-ACE0-DF4B769F65B5}" destId="{4CB2146D-9528-4B35-8D72-56A84E4DFAE5}" srcOrd="0" destOrd="0" presId="urn:microsoft.com/office/officeart/2005/8/layout/default"/>
    <dgm:cxn modelId="{32B281B0-754A-4965-B671-ED4BF7AB99C3}" type="presOf" srcId="{29EFD0B4-BB97-4635-ABC3-F33B81644189}" destId="{4A07E7A8-3CC9-4A65-9423-F18AA28675D9}" srcOrd="0" destOrd="0" presId="urn:microsoft.com/office/officeart/2005/8/layout/default"/>
    <dgm:cxn modelId="{0C6287B2-C4D9-4CDC-92C8-AA10E98BE8A6}" type="presOf" srcId="{CBFC71F0-B468-46CB-B6ED-1D98E1BB31F8}" destId="{BA789D24-C7FA-41DD-A7FF-710B73D5AFF2}" srcOrd="0" destOrd="0" presId="urn:microsoft.com/office/officeart/2005/8/layout/default"/>
    <dgm:cxn modelId="{181FB6CE-7307-4351-B9EF-F23C9AD66474}" srcId="{53BE7385-FF75-4069-BDC0-738DF4D90DCA}" destId="{031688E5-90D7-4A19-9C9F-0489FF9056F7}" srcOrd="6" destOrd="0" parTransId="{0DFEF0CF-F3B0-4659-9810-4CE0375DFAC1}" sibTransId="{42799EA7-93C3-4533-8F9D-9C986C4F959C}"/>
    <dgm:cxn modelId="{F86E6AD4-05C0-4D3F-BC6B-9D95E3294CE2}" srcId="{53BE7385-FF75-4069-BDC0-738DF4D90DCA}" destId="{CBFC71F0-B468-46CB-B6ED-1D98E1BB31F8}" srcOrd="0" destOrd="0" parTransId="{18402670-B1D1-4A21-9096-28C8AB5890CE}" sibTransId="{FFE812DA-389F-4C17-B1D1-17E4E7C10B5A}"/>
    <dgm:cxn modelId="{614EEBEA-BC3F-454B-A1A8-7142AEA16E56}" type="presOf" srcId="{53BE7385-FF75-4069-BDC0-738DF4D90DCA}" destId="{6DD9270C-843B-4698-A796-E4409F116DE6}" srcOrd="0" destOrd="0" presId="urn:microsoft.com/office/officeart/2005/8/layout/default"/>
    <dgm:cxn modelId="{983CCAFA-30BF-463F-95FA-C1CE5305B9BC}" type="presParOf" srcId="{6DD9270C-843B-4698-A796-E4409F116DE6}" destId="{BA789D24-C7FA-41DD-A7FF-710B73D5AFF2}" srcOrd="0" destOrd="0" presId="urn:microsoft.com/office/officeart/2005/8/layout/default"/>
    <dgm:cxn modelId="{37B5862E-EC95-47A1-B2C3-91BACB858D22}" type="presParOf" srcId="{6DD9270C-843B-4698-A796-E4409F116DE6}" destId="{F0A25913-2E03-4EEE-B9FA-31EA02247DC1}" srcOrd="1" destOrd="0" presId="urn:microsoft.com/office/officeart/2005/8/layout/default"/>
    <dgm:cxn modelId="{BF9C27E9-9BD1-4C7C-AD32-89A04DF16EF5}" type="presParOf" srcId="{6DD9270C-843B-4698-A796-E4409F116DE6}" destId="{4CB2146D-9528-4B35-8D72-56A84E4DFAE5}" srcOrd="2" destOrd="0" presId="urn:microsoft.com/office/officeart/2005/8/layout/default"/>
    <dgm:cxn modelId="{067BCE99-738F-40C9-960A-9E4C8611E64F}" type="presParOf" srcId="{6DD9270C-843B-4698-A796-E4409F116DE6}" destId="{A0E9D41C-C3CE-42F6-9706-60C7D09FB897}" srcOrd="3" destOrd="0" presId="urn:microsoft.com/office/officeart/2005/8/layout/default"/>
    <dgm:cxn modelId="{7CA7063C-71A1-4E45-B20B-C0BFDF238C3B}" type="presParOf" srcId="{6DD9270C-843B-4698-A796-E4409F116DE6}" destId="{4A07E7A8-3CC9-4A65-9423-F18AA28675D9}" srcOrd="4" destOrd="0" presId="urn:microsoft.com/office/officeart/2005/8/layout/default"/>
    <dgm:cxn modelId="{5108E535-0C28-4C79-B6D2-8491DAB7F568}" type="presParOf" srcId="{6DD9270C-843B-4698-A796-E4409F116DE6}" destId="{3CE3259F-DD17-411B-9227-D14787864648}" srcOrd="5" destOrd="0" presId="urn:microsoft.com/office/officeart/2005/8/layout/default"/>
    <dgm:cxn modelId="{91FE060A-65B9-41DE-9F2E-D8ACA1270DD6}" type="presParOf" srcId="{6DD9270C-843B-4698-A796-E4409F116DE6}" destId="{08B71A3E-79D5-4440-8052-C3EA780BB7E7}" srcOrd="6" destOrd="0" presId="urn:microsoft.com/office/officeart/2005/8/layout/default"/>
    <dgm:cxn modelId="{ADD0C580-5B2D-4BFB-8534-03CD46359C72}" type="presParOf" srcId="{6DD9270C-843B-4698-A796-E4409F116DE6}" destId="{73BF82ED-622C-4750-878D-27C6E0F5E122}" srcOrd="7" destOrd="0" presId="urn:microsoft.com/office/officeart/2005/8/layout/default"/>
    <dgm:cxn modelId="{C2065249-4874-44C2-A39C-535EBB17D4CB}" type="presParOf" srcId="{6DD9270C-843B-4698-A796-E4409F116DE6}" destId="{58F0CF2A-6FDD-45AB-B844-BE601FDB3E28}" srcOrd="8" destOrd="0" presId="urn:microsoft.com/office/officeart/2005/8/layout/default"/>
    <dgm:cxn modelId="{0ED6ACAC-3F49-450B-BC53-39C9B4C2903D}" type="presParOf" srcId="{6DD9270C-843B-4698-A796-E4409F116DE6}" destId="{91F3A303-C70E-4F0A-8EAB-42B647981D79}" srcOrd="9" destOrd="0" presId="urn:microsoft.com/office/officeart/2005/8/layout/default"/>
    <dgm:cxn modelId="{AE846E76-391D-4260-8909-5CA9CAD0B16A}" type="presParOf" srcId="{6DD9270C-843B-4698-A796-E4409F116DE6}" destId="{58E076F5-F3F2-4923-95F8-41DD6449AAF2}" srcOrd="10" destOrd="0" presId="urn:microsoft.com/office/officeart/2005/8/layout/default"/>
    <dgm:cxn modelId="{95C85798-E5B0-48F6-A91F-814A33FDEC4F}" type="presParOf" srcId="{6DD9270C-843B-4698-A796-E4409F116DE6}" destId="{5BE38C0D-FF32-4887-A7DE-2E32E9E58371}" srcOrd="11" destOrd="0" presId="urn:microsoft.com/office/officeart/2005/8/layout/default"/>
    <dgm:cxn modelId="{5B3C51E3-D874-4C04-BE78-636AA7E10E49}" type="presParOf" srcId="{6DD9270C-843B-4698-A796-E4409F116DE6}" destId="{9F383E3A-789A-4028-9BA8-4E1111F96143}" srcOrd="1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9600DDB-782F-4E1B-B3DE-D63A0D6DE3DC}" type="doc">
      <dgm:prSet loTypeId="urn:microsoft.com/office/officeart/2005/8/layout/orgChart1" loCatId="hierarchy" qsTypeId="urn:microsoft.com/office/officeart/2005/8/quickstyle/simple3" qsCatId="simple" csTypeId="urn:microsoft.com/office/officeart/2005/8/colors/accent1_3" csCatId="accent1" phldr="1"/>
      <dgm:spPr/>
      <dgm:t>
        <a:bodyPr/>
        <a:lstStyle/>
        <a:p>
          <a:endParaRPr lang="en-GB"/>
        </a:p>
      </dgm:t>
    </dgm:pt>
    <dgm:pt modelId="{2CD810D4-3E75-4903-9ABB-39CEB1D42E87}">
      <dgm:prSet phldrT="[Text]" custT="1"/>
      <dgm:spPr/>
      <dgm:t>
        <a:bodyPr/>
        <a:lstStyle/>
        <a:p>
          <a:pPr algn="ctr"/>
          <a:r>
            <a:rPr lang="en-GB" sz="800" dirty="0" err="1"/>
            <a:t>Scenariekombination</a:t>
          </a:r>
          <a:r>
            <a:rPr lang="en-GB" sz="800"/>
            <a:t> for </a:t>
          </a:r>
          <a:r>
            <a:rPr lang="en-GB" sz="800" dirty="0" err="1"/>
            <a:t>fjernvarmen</a:t>
          </a:r>
          <a:endParaRPr lang="en-GB" sz="800" dirty="0"/>
        </a:p>
      </dgm:t>
    </dgm:pt>
    <dgm:pt modelId="{CD57C23E-B047-4718-A7C9-60C03575BAA7}" type="parTrans" cxnId="{6E949FF0-22F0-43CC-AF14-5494049EA2E5}">
      <dgm:prSet/>
      <dgm:spPr/>
      <dgm:t>
        <a:bodyPr/>
        <a:lstStyle/>
        <a:p>
          <a:pPr algn="ctr"/>
          <a:endParaRPr lang="en-GB" sz="800"/>
        </a:p>
      </dgm:t>
    </dgm:pt>
    <dgm:pt modelId="{7ECDDD62-A51F-4F66-82B7-D548D1B9B4F3}" type="sibTrans" cxnId="{6E949FF0-22F0-43CC-AF14-5494049EA2E5}">
      <dgm:prSet/>
      <dgm:spPr/>
      <dgm:t>
        <a:bodyPr/>
        <a:lstStyle/>
        <a:p>
          <a:pPr algn="ctr"/>
          <a:endParaRPr lang="en-GB" sz="800"/>
        </a:p>
      </dgm:t>
    </dgm:pt>
    <dgm:pt modelId="{4FD0348C-E7FA-4474-9132-FA61A6AC5521}">
      <dgm:prSet phldrT="[Text]" custT="1"/>
      <dgm:spPr/>
      <dgm:t>
        <a:bodyPr/>
        <a:lstStyle/>
        <a:p>
          <a:pPr algn="ctr"/>
          <a:r>
            <a:rPr lang="en-GB" sz="800"/>
            <a:t>Fjernvarme udvidelsesniveau</a:t>
          </a:r>
        </a:p>
      </dgm:t>
    </dgm:pt>
    <dgm:pt modelId="{EC569ABB-24E0-4897-A0E1-F740CA7A1BB1}" type="parTrans" cxnId="{B0888AF3-1BEB-4CE1-9005-BE48BA261EC0}">
      <dgm:prSet/>
      <dgm:spPr/>
      <dgm:t>
        <a:bodyPr/>
        <a:lstStyle/>
        <a:p>
          <a:pPr algn="ctr"/>
          <a:endParaRPr lang="en-GB" sz="800"/>
        </a:p>
      </dgm:t>
    </dgm:pt>
    <dgm:pt modelId="{25F25767-DDA8-46A6-AA58-13059EBA1F47}" type="sibTrans" cxnId="{B0888AF3-1BEB-4CE1-9005-BE48BA261EC0}">
      <dgm:prSet/>
      <dgm:spPr/>
      <dgm:t>
        <a:bodyPr/>
        <a:lstStyle/>
        <a:p>
          <a:pPr algn="ctr"/>
          <a:endParaRPr lang="en-GB" sz="800"/>
        </a:p>
      </dgm:t>
    </dgm:pt>
    <dgm:pt modelId="{691ADFE0-63DD-444D-A3E4-24C9A1348CA0}">
      <dgm:prSet phldrT="[Text]" custT="1"/>
      <dgm:spPr/>
      <dgm:t>
        <a:bodyPr/>
        <a:lstStyle/>
        <a:p>
          <a:pPr algn="ctr"/>
          <a:r>
            <a:rPr lang="en-GB" sz="800"/>
            <a:t>Fjernvarmetype</a:t>
          </a:r>
        </a:p>
      </dgm:t>
    </dgm:pt>
    <dgm:pt modelId="{0FA8FF68-0472-4783-A0AC-889B7707E067}" type="parTrans" cxnId="{B85A11B5-AE9D-42D0-93DF-01BB3175D22F}">
      <dgm:prSet/>
      <dgm:spPr/>
      <dgm:t>
        <a:bodyPr/>
        <a:lstStyle/>
        <a:p>
          <a:pPr algn="ctr"/>
          <a:endParaRPr lang="en-GB" sz="800"/>
        </a:p>
      </dgm:t>
    </dgm:pt>
    <dgm:pt modelId="{CF709A42-2CE7-42A4-A567-3DE5162EA626}" type="sibTrans" cxnId="{B85A11B5-AE9D-42D0-93DF-01BB3175D22F}">
      <dgm:prSet/>
      <dgm:spPr/>
      <dgm:t>
        <a:bodyPr/>
        <a:lstStyle/>
        <a:p>
          <a:pPr algn="ctr"/>
          <a:endParaRPr lang="en-GB" sz="800"/>
        </a:p>
      </dgm:t>
    </dgm:pt>
    <dgm:pt modelId="{81BC1A39-4725-4A27-8CA0-EC52699C52A9}">
      <dgm:prSet phldrT="[Text]" custT="1"/>
      <dgm:spPr/>
      <dgm:t>
        <a:bodyPr/>
        <a:lstStyle/>
        <a:p>
          <a:pPr algn="ctr"/>
          <a:r>
            <a:rPr lang="en-GB" sz="800"/>
            <a:t>Sammenkobling af fjernvarme</a:t>
          </a:r>
        </a:p>
      </dgm:t>
    </dgm:pt>
    <dgm:pt modelId="{2CD757F6-7D33-4ED2-9189-C039A8C46120}" type="parTrans" cxnId="{A24DCBF8-B0E6-4405-BDED-61E76ACA0F9F}">
      <dgm:prSet/>
      <dgm:spPr/>
      <dgm:t>
        <a:bodyPr/>
        <a:lstStyle/>
        <a:p>
          <a:pPr algn="ctr"/>
          <a:endParaRPr lang="en-GB" sz="800"/>
        </a:p>
      </dgm:t>
    </dgm:pt>
    <dgm:pt modelId="{270834C4-342D-4EE0-A2F7-6D5BD6D2CAEE}" type="sibTrans" cxnId="{A24DCBF8-B0E6-4405-BDED-61E76ACA0F9F}">
      <dgm:prSet/>
      <dgm:spPr/>
      <dgm:t>
        <a:bodyPr/>
        <a:lstStyle/>
        <a:p>
          <a:pPr algn="ctr"/>
          <a:endParaRPr lang="en-GB" sz="800"/>
        </a:p>
      </dgm:t>
    </dgm:pt>
    <dgm:pt modelId="{44E246D3-8876-42A4-A6A0-24CCAF3F1D48}">
      <dgm:prSet phldrT="[Text]" custT="1"/>
      <dgm:spPr/>
      <dgm:t>
        <a:bodyPr/>
        <a:lstStyle/>
        <a:p>
          <a:pPr algn="ctr"/>
          <a:r>
            <a:rPr lang="en-GB" sz="800"/>
            <a:t>Ja</a:t>
          </a:r>
        </a:p>
      </dgm:t>
    </dgm:pt>
    <dgm:pt modelId="{A3D811D6-243F-4EB2-A8FE-75E002189D6D}" type="parTrans" cxnId="{4AF20914-8C3A-4A0E-AD4B-E48FD1D55848}">
      <dgm:prSet/>
      <dgm:spPr/>
      <dgm:t>
        <a:bodyPr/>
        <a:lstStyle/>
        <a:p>
          <a:pPr algn="ctr"/>
          <a:endParaRPr lang="en-GB" sz="800"/>
        </a:p>
      </dgm:t>
    </dgm:pt>
    <dgm:pt modelId="{9FF239E5-7DC5-4B97-8113-DFDDCAB23D20}" type="sibTrans" cxnId="{4AF20914-8C3A-4A0E-AD4B-E48FD1D55848}">
      <dgm:prSet/>
      <dgm:spPr/>
      <dgm:t>
        <a:bodyPr/>
        <a:lstStyle/>
        <a:p>
          <a:pPr algn="ctr"/>
          <a:endParaRPr lang="en-GB" sz="800"/>
        </a:p>
      </dgm:t>
    </dgm:pt>
    <dgm:pt modelId="{295A26D7-0B0A-40C8-B1BE-91D3F79B1EFB}">
      <dgm:prSet phldrT="[Text]" custT="1"/>
      <dgm:spPr/>
      <dgm:t>
        <a:bodyPr/>
        <a:lstStyle/>
        <a:p>
          <a:pPr algn="ctr"/>
          <a:r>
            <a:rPr lang="en-GB" sz="800"/>
            <a:t>Nej</a:t>
          </a:r>
        </a:p>
      </dgm:t>
    </dgm:pt>
    <dgm:pt modelId="{815FF097-B292-45B2-98EF-9D01E7FF8BCC}" type="parTrans" cxnId="{2E4DC41F-FFF2-433F-8C6B-F2E19CBB601D}">
      <dgm:prSet/>
      <dgm:spPr/>
      <dgm:t>
        <a:bodyPr/>
        <a:lstStyle/>
        <a:p>
          <a:pPr algn="ctr"/>
          <a:endParaRPr lang="en-GB" sz="800"/>
        </a:p>
      </dgm:t>
    </dgm:pt>
    <dgm:pt modelId="{1551140F-952F-4A40-902B-EB9666568631}" type="sibTrans" cxnId="{2E4DC41F-FFF2-433F-8C6B-F2E19CBB601D}">
      <dgm:prSet/>
      <dgm:spPr/>
      <dgm:t>
        <a:bodyPr/>
        <a:lstStyle/>
        <a:p>
          <a:pPr algn="ctr"/>
          <a:endParaRPr lang="en-GB" sz="800"/>
        </a:p>
      </dgm:t>
    </dgm:pt>
    <dgm:pt modelId="{91C7F0CA-0F90-46A5-92A1-43CF6D6FC93C}">
      <dgm:prSet phldrT="[Text]" custT="1"/>
      <dgm:spPr/>
      <dgm:t>
        <a:bodyPr/>
        <a:lstStyle/>
        <a:p>
          <a:pPr algn="ctr"/>
          <a:r>
            <a:rPr lang="en-GB" sz="800"/>
            <a:t>3. generation</a:t>
          </a:r>
        </a:p>
      </dgm:t>
    </dgm:pt>
    <dgm:pt modelId="{A9CCDE0E-9383-4C0C-B2B7-3C81D1BE0746}" type="parTrans" cxnId="{1249DA80-F0EC-4AFE-A4A6-9538C9369561}">
      <dgm:prSet/>
      <dgm:spPr/>
      <dgm:t>
        <a:bodyPr/>
        <a:lstStyle/>
        <a:p>
          <a:pPr algn="ctr"/>
          <a:endParaRPr lang="en-GB" sz="800"/>
        </a:p>
      </dgm:t>
    </dgm:pt>
    <dgm:pt modelId="{8D325CED-C09E-4692-B273-E4FED95F4CBF}" type="sibTrans" cxnId="{1249DA80-F0EC-4AFE-A4A6-9538C9369561}">
      <dgm:prSet/>
      <dgm:spPr/>
      <dgm:t>
        <a:bodyPr/>
        <a:lstStyle/>
        <a:p>
          <a:pPr algn="ctr"/>
          <a:endParaRPr lang="en-GB" sz="800"/>
        </a:p>
      </dgm:t>
    </dgm:pt>
    <dgm:pt modelId="{4CFC5C3F-89A5-4C0D-AB03-823F49F25284}">
      <dgm:prSet phldrT="[Text]" custT="1"/>
      <dgm:spPr/>
      <dgm:t>
        <a:bodyPr/>
        <a:lstStyle/>
        <a:p>
          <a:pPr algn="ctr"/>
          <a:r>
            <a:rPr lang="en-GB" sz="800"/>
            <a:t>4. generation</a:t>
          </a:r>
        </a:p>
      </dgm:t>
    </dgm:pt>
    <dgm:pt modelId="{BF41108A-0AED-4051-BFC2-9DBC1459497F}" type="parTrans" cxnId="{7D7EFA97-1365-469D-A46F-1CDF7A573CB6}">
      <dgm:prSet/>
      <dgm:spPr/>
      <dgm:t>
        <a:bodyPr/>
        <a:lstStyle/>
        <a:p>
          <a:pPr algn="ctr"/>
          <a:endParaRPr lang="en-GB" sz="800"/>
        </a:p>
      </dgm:t>
    </dgm:pt>
    <dgm:pt modelId="{ACC27BAF-8B47-4C73-B241-116DF9FEDAB4}" type="sibTrans" cxnId="{7D7EFA97-1365-469D-A46F-1CDF7A573CB6}">
      <dgm:prSet/>
      <dgm:spPr/>
      <dgm:t>
        <a:bodyPr/>
        <a:lstStyle/>
        <a:p>
          <a:pPr algn="ctr"/>
          <a:endParaRPr lang="en-GB" sz="800"/>
        </a:p>
      </dgm:t>
    </dgm:pt>
    <dgm:pt modelId="{74D2AA39-858F-4965-A128-DC73546BA13E}">
      <dgm:prSet phldrT="[Text]" custT="1"/>
      <dgm:spPr/>
      <dgm:t>
        <a:bodyPr/>
        <a:lstStyle/>
        <a:p>
          <a:pPr algn="ctr"/>
          <a:r>
            <a:rPr lang="en-GB" sz="800"/>
            <a:t>s1. Nuværende fjernvarme</a:t>
          </a:r>
        </a:p>
      </dgm:t>
    </dgm:pt>
    <dgm:pt modelId="{70088448-C968-4D14-98CE-EB36F21C4566}" type="parTrans" cxnId="{71F5BAA6-08FC-437D-AD40-9597B53A6149}">
      <dgm:prSet/>
      <dgm:spPr/>
      <dgm:t>
        <a:bodyPr/>
        <a:lstStyle/>
        <a:p>
          <a:pPr algn="ctr"/>
          <a:endParaRPr lang="en-GB" sz="800"/>
        </a:p>
      </dgm:t>
    </dgm:pt>
    <dgm:pt modelId="{E70A9E89-CDE1-4B82-BA8C-E0ED0FBE3321}" type="sibTrans" cxnId="{71F5BAA6-08FC-437D-AD40-9597B53A6149}">
      <dgm:prSet/>
      <dgm:spPr/>
      <dgm:t>
        <a:bodyPr/>
        <a:lstStyle/>
        <a:p>
          <a:pPr algn="ctr"/>
          <a:endParaRPr lang="en-GB" sz="800"/>
        </a:p>
      </dgm:t>
    </dgm:pt>
    <dgm:pt modelId="{775435F1-163D-4085-8B7B-EB910FB23F67}">
      <dgm:prSet phldrT="[Text]" custT="1"/>
      <dgm:spPr/>
      <dgm:t>
        <a:bodyPr/>
        <a:lstStyle/>
        <a:p>
          <a:pPr algn="ctr"/>
          <a:r>
            <a:rPr lang="en-GB" sz="800"/>
            <a:t>s2. Udvidelser områder udlagt til fjernvarme</a:t>
          </a:r>
        </a:p>
      </dgm:t>
    </dgm:pt>
    <dgm:pt modelId="{78EAF757-AC22-4BDA-ABB2-1C3DDA53B9E5}" type="parTrans" cxnId="{51FFD48B-5058-4B66-ABF5-E64227BF844C}">
      <dgm:prSet/>
      <dgm:spPr/>
      <dgm:t>
        <a:bodyPr/>
        <a:lstStyle/>
        <a:p>
          <a:pPr algn="ctr"/>
          <a:endParaRPr lang="en-GB" sz="800"/>
        </a:p>
      </dgm:t>
    </dgm:pt>
    <dgm:pt modelId="{9767159D-248B-40D4-A173-E8A8A1448C76}" type="sibTrans" cxnId="{51FFD48B-5058-4B66-ABF5-E64227BF844C}">
      <dgm:prSet/>
      <dgm:spPr/>
      <dgm:t>
        <a:bodyPr/>
        <a:lstStyle/>
        <a:p>
          <a:pPr algn="ctr"/>
          <a:endParaRPr lang="en-GB" sz="800"/>
        </a:p>
      </dgm:t>
    </dgm:pt>
    <dgm:pt modelId="{A6AB4F94-FB48-4232-92FE-2E5B0A58E306}">
      <dgm:prSet phldrT="[Text]" custT="1"/>
      <dgm:spPr/>
      <dgm:t>
        <a:bodyPr/>
        <a:lstStyle/>
        <a:p>
          <a:pPr algn="ctr"/>
          <a:r>
            <a:rPr lang="en-GB" sz="800"/>
            <a:t>s3. Udvidelser til byområder med varmedensitet over 15 kWh/m2</a:t>
          </a:r>
        </a:p>
      </dgm:t>
    </dgm:pt>
    <dgm:pt modelId="{394234B2-E09D-4F28-A25C-D1E78530B73E}" type="parTrans" cxnId="{16C18ABB-38B0-455F-AEA3-466396BAC08B}">
      <dgm:prSet/>
      <dgm:spPr/>
      <dgm:t>
        <a:bodyPr/>
        <a:lstStyle/>
        <a:p>
          <a:pPr algn="ctr"/>
          <a:endParaRPr lang="en-GB" sz="800"/>
        </a:p>
      </dgm:t>
    </dgm:pt>
    <dgm:pt modelId="{47DC3FE3-7631-4949-A0FF-90B6E4E40F90}" type="sibTrans" cxnId="{16C18ABB-38B0-455F-AEA3-466396BAC08B}">
      <dgm:prSet/>
      <dgm:spPr/>
      <dgm:t>
        <a:bodyPr/>
        <a:lstStyle/>
        <a:p>
          <a:pPr algn="ctr"/>
          <a:endParaRPr lang="en-GB" sz="800"/>
        </a:p>
      </dgm:t>
    </dgm:pt>
    <dgm:pt modelId="{A3290EB2-130A-4F8F-B2C4-30151493B9C7}">
      <dgm:prSet phldrT="[Text]" custT="1"/>
      <dgm:spPr/>
      <dgm:t>
        <a:bodyPr/>
        <a:lstStyle/>
        <a:p>
          <a:pPr algn="ctr"/>
          <a:r>
            <a:rPr lang="en-GB" sz="800" dirty="0"/>
            <a:t>s4 </a:t>
          </a:r>
          <a:r>
            <a:rPr lang="en-GB" sz="800" dirty="0" err="1"/>
            <a:t>Udvidelser</a:t>
          </a:r>
          <a:r>
            <a:rPr lang="en-GB" sz="800" dirty="0"/>
            <a:t> til </a:t>
          </a:r>
          <a:r>
            <a:rPr lang="en-GB" sz="800" dirty="0" err="1"/>
            <a:t>byområder</a:t>
          </a:r>
          <a:r>
            <a:rPr lang="en-GB" sz="800" dirty="0"/>
            <a:t> med </a:t>
          </a:r>
          <a:r>
            <a:rPr lang="en-GB" sz="800" dirty="0" err="1"/>
            <a:t>varmedensitet</a:t>
          </a:r>
          <a:r>
            <a:rPr lang="en-GB" sz="800" dirty="0"/>
            <a:t> over 10 kWh/m2</a:t>
          </a:r>
        </a:p>
      </dgm:t>
    </dgm:pt>
    <dgm:pt modelId="{CF18D4A1-924D-4864-AB67-BA4993BEEBA4}" type="parTrans" cxnId="{61B4C3D2-1DDF-4778-BEA7-553AC28A4B33}">
      <dgm:prSet/>
      <dgm:spPr/>
      <dgm:t>
        <a:bodyPr/>
        <a:lstStyle/>
        <a:p>
          <a:pPr algn="ctr"/>
          <a:endParaRPr lang="en-GB" sz="800"/>
        </a:p>
      </dgm:t>
    </dgm:pt>
    <dgm:pt modelId="{182F7D9D-E4EB-45C2-92F3-94632E357E85}" type="sibTrans" cxnId="{61B4C3D2-1DDF-4778-BEA7-553AC28A4B33}">
      <dgm:prSet/>
      <dgm:spPr/>
      <dgm:t>
        <a:bodyPr/>
        <a:lstStyle/>
        <a:p>
          <a:pPr algn="ctr"/>
          <a:endParaRPr lang="en-GB" sz="800"/>
        </a:p>
      </dgm:t>
    </dgm:pt>
    <dgm:pt modelId="{F43ECCC0-4957-4088-A066-6B49BFFEE0A2}">
      <dgm:prSet phldrT="[Text]" custT="1"/>
      <dgm:spPr/>
      <dgm:t>
        <a:bodyPr/>
        <a:lstStyle/>
        <a:p>
          <a:pPr algn="ctr"/>
          <a:r>
            <a:rPr lang="en-GB" sz="800"/>
            <a:t>s5 Udvidelser til byområder med varmedensitet over 5 kWh/m2</a:t>
          </a:r>
        </a:p>
      </dgm:t>
    </dgm:pt>
    <dgm:pt modelId="{96281C2C-4775-4F73-B3D0-6C1324AE255E}" type="parTrans" cxnId="{F5ED2C94-4F4C-4432-B07F-5B9E5CAD50E8}">
      <dgm:prSet/>
      <dgm:spPr/>
      <dgm:t>
        <a:bodyPr/>
        <a:lstStyle/>
        <a:p>
          <a:pPr algn="ctr"/>
          <a:endParaRPr lang="en-GB" sz="800"/>
        </a:p>
      </dgm:t>
    </dgm:pt>
    <dgm:pt modelId="{DD434104-2EF8-4796-B57C-C264BE55B6CE}" type="sibTrans" cxnId="{F5ED2C94-4F4C-4432-B07F-5B9E5CAD50E8}">
      <dgm:prSet/>
      <dgm:spPr/>
      <dgm:t>
        <a:bodyPr/>
        <a:lstStyle/>
        <a:p>
          <a:pPr algn="ctr"/>
          <a:endParaRPr lang="en-GB" sz="800"/>
        </a:p>
      </dgm:t>
    </dgm:pt>
    <dgm:pt modelId="{D6B8DB8D-BD33-45B0-B699-FBE493686705}">
      <dgm:prSet phldrT="[Text]" custT="1"/>
      <dgm:spPr/>
      <dgm:t>
        <a:bodyPr/>
        <a:lstStyle/>
        <a:p>
          <a:pPr algn="ctr"/>
          <a:r>
            <a:rPr lang="en-GB" sz="800"/>
            <a:t>Varmebesparelser</a:t>
          </a:r>
        </a:p>
      </dgm:t>
    </dgm:pt>
    <dgm:pt modelId="{013DF7CD-81E6-4AB0-A618-533B0AEB7753}" type="parTrans" cxnId="{802E3603-9FE1-4C74-A41E-2698B3371CDD}">
      <dgm:prSet/>
      <dgm:spPr/>
      <dgm:t>
        <a:bodyPr/>
        <a:lstStyle/>
        <a:p>
          <a:pPr algn="ctr"/>
          <a:endParaRPr lang="en-GB" sz="800"/>
        </a:p>
      </dgm:t>
    </dgm:pt>
    <dgm:pt modelId="{8DC0AF96-79B7-497C-A079-E9BEFFED7BF7}" type="sibTrans" cxnId="{802E3603-9FE1-4C74-A41E-2698B3371CDD}">
      <dgm:prSet/>
      <dgm:spPr/>
      <dgm:t>
        <a:bodyPr/>
        <a:lstStyle/>
        <a:p>
          <a:pPr algn="ctr"/>
          <a:endParaRPr lang="en-GB" sz="800"/>
        </a:p>
      </dgm:t>
    </dgm:pt>
    <dgm:pt modelId="{00845C19-EDFA-4088-824D-2D392C3952CA}">
      <dgm:prSet phldrT="[Text]" custT="1"/>
      <dgm:spPr/>
      <dgm:t>
        <a:bodyPr/>
        <a:lstStyle/>
        <a:p>
          <a:pPr algn="ctr"/>
          <a:r>
            <a:rPr lang="en-GB" sz="800"/>
            <a:t>Ja</a:t>
          </a:r>
        </a:p>
      </dgm:t>
    </dgm:pt>
    <dgm:pt modelId="{920D5406-0E11-4CD6-AFD3-75D28FDF301A}" type="parTrans" cxnId="{FA02A5CC-3DAF-4F12-953F-1F97F133869C}">
      <dgm:prSet/>
      <dgm:spPr/>
      <dgm:t>
        <a:bodyPr/>
        <a:lstStyle/>
        <a:p>
          <a:pPr algn="ctr"/>
          <a:endParaRPr lang="en-GB" sz="800"/>
        </a:p>
      </dgm:t>
    </dgm:pt>
    <dgm:pt modelId="{C2EFB961-985B-42E6-9BDB-DE76555CAFA3}" type="sibTrans" cxnId="{FA02A5CC-3DAF-4F12-953F-1F97F133869C}">
      <dgm:prSet/>
      <dgm:spPr/>
      <dgm:t>
        <a:bodyPr/>
        <a:lstStyle/>
        <a:p>
          <a:pPr algn="ctr"/>
          <a:endParaRPr lang="en-GB" sz="800"/>
        </a:p>
      </dgm:t>
    </dgm:pt>
    <dgm:pt modelId="{44DE8E44-4D7B-40C0-82B5-6E344E34D2D4}">
      <dgm:prSet phldrT="[Text]" custT="1"/>
      <dgm:spPr/>
      <dgm:t>
        <a:bodyPr/>
        <a:lstStyle/>
        <a:p>
          <a:pPr algn="ctr"/>
          <a:r>
            <a:rPr lang="en-GB" sz="800"/>
            <a:t>Nej</a:t>
          </a:r>
        </a:p>
      </dgm:t>
    </dgm:pt>
    <dgm:pt modelId="{5049BB69-F894-49C2-87B8-AE6279A51261}" type="parTrans" cxnId="{60B093D8-E441-492E-ADFA-65F237933C9E}">
      <dgm:prSet/>
      <dgm:spPr/>
      <dgm:t>
        <a:bodyPr/>
        <a:lstStyle/>
        <a:p>
          <a:pPr algn="ctr"/>
          <a:endParaRPr lang="en-GB" sz="800"/>
        </a:p>
      </dgm:t>
    </dgm:pt>
    <dgm:pt modelId="{5DCE111C-9128-4F3D-9685-5A3894D5E865}" type="sibTrans" cxnId="{60B093D8-E441-492E-ADFA-65F237933C9E}">
      <dgm:prSet/>
      <dgm:spPr/>
      <dgm:t>
        <a:bodyPr/>
        <a:lstStyle/>
        <a:p>
          <a:pPr algn="ctr"/>
          <a:endParaRPr lang="en-GB" sz="800"/>
        </a:p>
      </dgm:t>
    </dgm:pt>
    <dgm:pt modelId="{2AE33358-F224-4DC5-8D5D-D77C4131DC29}" type="pres">
      <dgm:prSet presAssocID="{E9600DDB-782F-4E1B-B3DE-D63A0D6DE3DC}" presName="hierChild1" presStyleCnt="0">
        <dgm:presLayoutVars>
          <dgm:orgChart val="1"/>
          <dgm:chPref val="1"/>
          <dgm:dir/>
          <dgm:animOne val="branch"/>
          <dgm:animLvl val="lvl"/>
          <dgm:resizeHandles/>
        </dgm:presLayoutVars>
      </dgm:prSet>
      <dgm:spPr/>
    </dgm:pt>
    <dgm:pt modelId="{AAE2D367-9B1C-4C51-9EB0-69D92D601C03}" type="pres">
      <dgm:prSet presAssocID="{2CD810D4-3E75-4903-9ABB-39CEB1D42E87}" presName="hierRoot1" presStyleCnt="0">
        <dgm:presLayoutVars>
          <dgm:hierBranch val="init"/>
        </dgm:presLayoutVars>
      </dgm:prSet>
      <dgm:spPr/>
    </dgm:pt>
    <dgm:pt modelId="{6016C85F-1146-4EB3-89A6-78C2A163A037}" type="pres">
      <dgm:prSet presAssocID="{2CD810D4-3E75-4903-9ABB-39CEB1D42E87}" presName="rootComposite1" presStyleCnt="0"/>
      <dgm:spPr/>
    </dgm:pt>
    <dgm:pt modelId="{8F84C4E3-EF8E-472E-8FA0-695D2E24AFB4}" type="pres">
      <dgm:prSet presAssocID="{2CD810D4-3E75-4903-9ABB-39CEB1D42E87}" presName="rootText1" presStyleLbl="node0" presStyleIdx="0" presStyleCnt="1" custScaleX="207535">
        <dgm:presLayoutVars>
          <dgm:chPref val="3"/>
        </dgm:presLayoutVars>
      </dgm:prSet>
      <dgm:spPr/>
    </dgm:pt>
    <dgm:pt modelId="{BFEBAF61-0FA5-430C-B346-AC9479A93B5A}" type="pres">
      <dgm:prSet presAssocID="{2CD810D4-3E75-4903-9ABB-39CEB1D42E87}" presName="rootConnector1" presStyleLbl="node1" presStyleIdx="0" presStyleCnt="0"/>
      <dgm:spPr/>
    </dgm:pt>
    <dgm:pt modelId="{52A9900E-7977-4C7D-B441-7CBB3750F873}" type="pres">
      <dgm:prSet presAssocID="{2CD810D4-3E75-4903-9ABB-39CEB1D42E87}" presName="hierChild2" presStyleCnt="0"/>
      <dgm:spPr/>
    </dgm:pt>
    <dgm:pt modelId="{2E43C771-4652-45B0-8F8F-3E1BC4BA195E}" type="pres">
      <dgm:prSet presAssocID="{EC569ABB-24E0-4897-A0E1-F740CA7A1BB1}" presName="Name37" presStyleLbl="parChTrans1D2" presStyleIdx="0" presStyleCnt="4"/>
      <dgm:spPr/>
    </dgm:pt>
    <dgm:pt modelId="{4A34287B-AD8B-4055-909B-EDC95C132A07}" type="pres">
      <dgm:prSet presAssocID="{4FD0348C-E7FA-4474-9132-FA61A6AC5521}" presName="hierRoot2" presStyleCnt="0">
        <dgm:presLayoutVars>
          <dgm:hierBranch val="init"/>
        </dgm:presLayoutVars>
      </dgm:prSet>
      <dgm:spPr/>
    </dgm:pt>
    <dgm:pt modelId="{EBE4BC4B-E8D8-44E7-BA60-80DE6AD56089}" type="pres">
      <dgm:prSet presAssocID="{4FD0348C-E7FA-4474-9132-FA61A6AC5521}" presName="rootComposite" presStyleCnt="0"/>
      <dgm:spPr/>
    </dgm:pt>
    <dgm:pt modelId="{B0C541BE-6BEE-4048-A89B-0C59CE456E7F}" type="pres">
      <dgm:prSet presAssocID="{4FD0348C-E7FA-4474-9132-FA61A6AC5521}" presName="rootText" presStyleLbl="node2" presStyleIdx="0" presStyleCnt="4">
        <dgm:presLayoutVars>
          <dgm:chPref val="3"/>
        </dgm:presLayoutVars>
      </dgm:prSet>
      <dgm:spPr/>
    </dgm:pt>
    <dgm:pt modelId="{38C2765C-5D95-4FDF-8082-43B5A9041EDF}" type="pres">
      <dgm:prSet presAssocID="{4FD0348C-E7FA-4474-9132-FA61A6AC5521}" presName="rootConnector" presStyleLbl="node2" presStyleIdx="0" presStyleCnt="4"/>
      <dgm:spPr/>
    </dgm:pt>
    <dgm:pt modelId="{FD9DC15F-6F53-4CD5-BE7B-4D410F13B691}" type="pres">
      <dgm:prSet presAssocID="{4FD0348C-E7FA-4474-9132-FA61A6AC5521}" presName="hierChild4" presStyleCnt="0"/>
      <dgm:spPr/>
    </dgm:pt>
    <dgm:pt modelId="{28E3B826-A2A8-45C4-A9DA-3E65E26F4265}" type="pres">
      <dgm:prSet presAssocID="{70088448-C968-4D14-98CE-EB36F21C4566}" presName="Name37" presStyleLbl="parChTrans1D3" presStyleIdx="0" presStyleCnt="11"/>
      <dgm:spPr/>
    </dgm:pt>
    <dgm:pt modelId="{050F429D-CCF7-4DDC-88C1-E30A06A10FD5}" type="pres">
      <dgm:prSet presAssocID="{74D2AA39-858F-4965-A128-DC73546BA13E}" presName="hierRoot2" presStyleCnt="0">
        <dgm:presLayoutVars>
          <dgm:hierBranch val="init"/>
        </dgm:presLayoutVars>
      </dgm:prSet>
      <dgm:spPr/>
    </dgm:pt>
    <dgm:pt modelId="{80BC2D17-1BBB-4F52-93DE-6574AE300361}" type="pres">
      <dgm:prSet presAssocID="{74D2AA39-858F-4965-A128-DC73546BA13E}" presName="rootComposite" presStyleCnt="0"/>
      <dgm:spPr/>
    </dgm:pt>
    <dgm:pt modelId="{E9878A1E-D429-47FA-B228-F750AB2612A0}" type="pres">
      <dgm:prSet presAssocID="{74D2AA39-858F-4965-A128-DC73546BA13E}" presName="rootText" presStyleLbl="node3" presStyleIdx="0" presStyleCnt="11">
        <dgm:presLayoutVars>
          <dgm:chPref val="3"/>
        </dgm:presLayoutVars>
      </dgm:prSet>
      <dgm:spPr/>
    </dgm:pt>
    <dgm:pt modelId="{1FC0E982-0308-45F5-B0FF-E7BB1375146E}" type="pres">
      <dgm:prSet presAssocID="{74D2AA39-858F-4965-A128-DC73546BA13E}" presName="rootConnector" presStyleLbl="node3" presStyleIdx="0" presStyleCnt="11"/>
      <dgm:spPr/>
    </dgm:pt>
    <dgm:pt modelId="{0AB9CA2D-02B5-4456-96C5-552042A7436F}" type="pres">
      <dgm:prSet presAssocID="{74D2AA39-858F-4965-A128-DC73546BA13E}" presName="hierChild4" presStyleCnt="0"/>
      <dgm:spPr/>
    </dgm:pt>
    <dgm:pt modelId="{02FED810-538C-428F-87E6-DC569A834D84}" type="pres">
      <dgm:prSet presAssocID="{74D2AA39-858F-4965-A128-DC73546BA13E}" presName="hierChild5" presStyleCnt="0"/>
      <dgm:spPr/>
    </dgm:pt>
    <dgm:pt modelId="{DC82830B-14FF-4863-B129-CF7FCAA99A99}" type="pres">
      <dgm:prSet presAssocID="{78EAF757-AC22-4BDA-ABB2-1C3DDA53B9E5}" presName="Name37" presStyleLbl="parChTrans1D3" presStyleIdx="1" presStyleCnt="11"/>
      <dgm:spPr/>
    </dgm:pt>
    <dgm:pt modelId="{6703AF60-B6FC-4B5D-8832-ADB04278FB78}" type="pres">
      <dgm:prSet presAssocID="{775435F1-163D-4085-8B7B-EB910FB23F67}" presName="hierRoot2" presStyleCnt="0">
        <dgm:presLayoutVars>
          <dgm:hierBranch val="init"/>
        </dgm:presLayoutVars>
      </dgm:prSet>
      <dgm:spPr/>
    </dgm:pt>
    <dgm:pt modelId="{DEDBB76E-806F-4A16-A6AF-D6F1250254E5}" type="pres">
      <dgm:prSet presAssocID="{775435F1-163D-4085-8B7B-EB910FB23F67}" presName="rootComposite" presStyleCnt="0"/>
      <dgm:spPr/>
    </dgm:pt>
    <dgm:pt modelId="{12F9DEBF-D4B9-408A-941C-7863B57FE8B0}" type="pres">
      <dgm:prSet presAssocID="{775435F1-163D-4085-8B7B-EB910FB23F67}" presName="rootText" presStyleLbl="node3" presStyleIdx="1" presStyleCnt="11">
        <dgm:presLayoutVars>
          <dgm:chPref val="3"/>
        </dgm:presLayoutVars>
      </dgm:prSet>
      <dgm:spPr/>
    </dgm:pt>
    <dgm:pt modelId="{68FBA7B0-ECD5-46B9-8F83-6F0CD2974606}" type="pres">
      <dgm:prSet presAssocID="{775435F1-163D-4085-8B7B-EB910FB23F67}" presName="rootConnector" presStyleLbl="node3" presStyleIdx="1" presStyleCnt="11"/>
      <dgm:spPr/>
    </dgm:pt>
    <dgm:pt modelId="{726977A9-6870-4235-BE0B-3CB14574431F}" type="pres">
      <dgm:prSet presAssocID="{775435F1-163D-4085-8B7B-EB910FB23F67}" presName="hierChild4" presStyleCnt="0"/>
      <dgm:spPr/>
    </dgm:pt>
    <dgm:pt modelId="{539F42A7-2908-4110-93CB-D4377DC2D30C}" type="pres">
      <dgm:prSet presAssocID="{775435F1-163D-4085-8B7B-EB910FB23F67}" presName="hierChild5" presStyleCnt="0"/>
      <dgm:spPr/>
    </dgm:pt>
    <dgm:pt modelId="{123568E4-B3E5-4F0D-9C01-41A36CAF428E}" type="pres">
      <dgm:prSet presAssocID="{394234B2-E09D-4F28-A25C-D1E78530B73E}" presName="Name37" presStyleLbl="parChTrans1D3" presStyleIdx="2" presStyleCnt="11"/>
      <dgm:spPr/>
    </dgm:pt>
    <dgm:pt modelId="{4D1B3872-6295-4BA8-AEC4-E469ACF6983A}" type="pres">
      <dgm:prSet presAssocID="{A6AB4F94-FB48-4232-92FE-2E5B0A58E306}" presName="hierRoot2" presStyleCnt="0">
        <dgm:presLayoutVars>
          <dgm:hierBranch val="init"/>
        </dgm:presLayoutVars>
      </dgm:prSet>
      <dgm:spPr/>
    </dgm:pt>
    <dgm:pt modelId="{1EF5456B-84FC-4403-B85A-36B3A3CB36C9}" type="pres">
      <dgm:prSet presAssocID="{A6AB4F94-FB48-4232-92FE-2E5B0A58E306}" presName="rootComposite" presStyleCnt="0"/>
      <dgm:spPr/>
    </dgm:pt>
    <dgm:pt modelId="{7C618862-B533-47A8-80E3-408575FF5FCC}" type="pres">
      <dgm:prSet presAssocID="{A6AB4F94-FB48-4232-92FE-2E5B0A58E306}" presName="rootText" presStyleLbl="node3" presStyleIdx="2" presStyleCnt="11">
        <dgm:presLayoutVars>
          <dgm:chPref val="3"/>
        </dgm:presLayoutVars>
      </dgm:prSet>
      <dgm:spPr/>
    </dgm:pt>
    <dgm:pt modelId="{ACC38ABB-3007-47BA-9709-CAE6E714B174}" type="pres">
      <dgm:prSet presAssocID="{A6AB4F94-FB48-4232-92FE-2E5B0A58E306}" presName="rootConnector" presStyleLbl="node3" presStyleIdx="2" presStyleCnt="11"/>
      <dgm:spPr/>
    </dgm:pt>
    <dgm:pt modelId="{B2AB04A5-8337-4A78-9E71-508307EAB1EF}" type="pres">
      <dgm:prSet presAssocID="{A6AB4F94-FB48-4232-92FE-2E5B0A58E306}" presName="hierChild4" presStyleCnt="0"/>
      <dgm:spPr/>
    </dgm:pt>
    <dgm:pt modelId="{063CD4AB-BC31-495C-A5BD-2A3B5D83E62E}" type="pres">
      <dgm:prSet presAssocID="{A6AB4F94-FB48-4232-92FE-2E5B0A58E306}" presName="hierChild5" presStyleCnt="0"/>
      <dgm:spPr/>
    </dgm:pt>
    <dgm:pt modelId="{DC3B600E-202C-4F18-9F58-C22458346209}" type="pres">
      <dgm:prSet presAssocID="{CF18D4A1-924D-4864-AB67-BA4993BEEBA4}" presName="Name37" presStyleLbl="parChTrans1D3" presStyleIdx="3" presStyleCnt="11"/>
      <dgm:spPr/>
    </dgm:pt>
    <dgm:pt modelId="{56697884-5DE3-4AC8-B7BD-2E3A41811A09}" type="pres">
      <dgm:prSet presAssocID="{A3290EB2-130A-4F8F-B2C4-30151493B9C7}" presName="hierRoot2" presStyleCnt="0">
        <dgm:presLayoutVars>
          <dgm:hierBranch val="init"/>
        </dgm:presLayoutVars>
      </dgm:prSet>
      <dgm:spPr/>
    </dgm:pt>
    <dgm:pt modelId="{7AFFF78B-A897-48ED-8B08-F4CFCBC79D5D}" type="pres">
      <dgm:prSet presAssocID="{A3290EB2-130A-4F8F-B2C4-30151493B9C7}" presName="rootComposite" presStyleCnt="0"/>
      <dgm:spPr/>
    </dgm:pt>
    <dgm:pt modelId="{ED55C31D-FA44-4C60-8D31-7C490FBD7124}" type="pres">
      <dgm:prSet presAssocID="{A3290EB2-130A-4F8F-B2C4-30151493B9C7}" presName="rootText" presStyleLbl="node3" presStyleIdx="3" presStyleCnt="11">
        <dgm:presLayoutVars>
          <dgm:chPref val="3"/>
        </dgm:presLayoutVars>
      </dgm:prSet>
      <dgm:spPr/>
    </dgm:pt>
    <dgm:pt modelId="{D1FEB268-4B98-4868-8E5F-937E8F5AD18C}" type="pres">
      <dgm:prSet presAssocID="{A3290EB2-130A-4F8F-B2C4-30151493B9C7}" presName="rootConnector" presStyleLbl="node3" presStyleIdx="3" presStyleCnt="11"/>
      <dgm:spPr/>
    </dgm:pt>
    <dgm:pt modelId="{54EACE7F-79D3-4E82-925E-267D3F0BA6F0}" type="pres">
      <dgm:prSet presAssocID="{A3290EB2-130A-4F8F-B2C4-30151493B9C7}" presName="hierChild4" presStyleCnt="0"/>
      <dgm:spPr/>
    </dgm:pt>
    <dgm:pt modelId="{2F9FDCA8-F3DF-4F00-BA22-20E0A6EA4ECE}" type="pres">
      <dgm:prSet presAssocID="{A3290EB2-130A-4F8F-B2C4-30151493B9C7}" presName="hierChild5" presStyleCnt="0"/>
      <dgm:spPr/>
    </dgm:pt>
    <dgm:pt modelId="{064C40D6-16A7-494D-96EA-1AC110893762}" type="pres">
      <dgm:prSet presAssocID="{96281C2C-4775-4F73-B3D0-6C1324AE255E}" presName="Name37" presStyleLbl="parChTrans1D3" presStyleIdx="4" presStyleCnt="11"/>
      <dgm:spPr/>
    </dgm:pt>
    <dgm:pt modelId="{6C67C787-CDBE-44BE-B62D-23EAFE841E23}" type="pres">
      <dgm:prSet presAssocID="{F43ECCC0-4957-4088-A066-6B49BFFEE0A2}" presName="hierRoot2" presStyleCnt="0">
        <dgm:presLayoutVars>
          <dgm:hierBranch val="init"/>
        </dgm:presLayoutVars>
      </dgm:prSet>
      <dgm:spPr/>
    </dgm:pt>
    <dgm:pt modelId="{9045252D-C0C7-46F0-BB9D-8C01B3F76DBC}" type="pres">
      <dgm:prSet presAssocID="{F43ECCC0-4957-4088-A066-6B49BFFEE0A2}" presName="rootComposite" presStyleCnt="0"/>
      <dgm:spPr/>
    </dgm:pt>
    <dgm:pt modelId="{2EEF7B1D-30E8-44F5-B991-783652948585}" type="pres">
      <dgm:prSet presAssocID="{F43ECCC0-4957-4088-A066-6B49BFFEE0A2}" presName="rootText" presStyleLbl="node3" presStyleIdx="4" presStyleCnt="11">
        <dgm:presLayoutVars>
          <dgm:chPref val="3"/>
        </dgm:presLayoutVars>
      </dgm:prSet>
      <dgm:spPr/>
    </dgm:pt>
    <dgm:pt modelId="{4B6D7E5B-7E4D-4F37-ADCF-3D476E787443}" type="pres">
      <dgm:prSet presAssocID="{F43ECCC0-4957-4088-A066-6B49BFFEE0A2}" presName="rootConnector" presStyleLbl="node3" presStyleIdx="4" presStyleCnt="11"/>
      <dgm:spPr/>
    </dgm:pt>
    <dgm:pt modelId="{6999BBE0-BCA9-4A3F-99FE-E3636F8F7F9B}" type="pres">
      <dgm:prSet presAssocID="{F43ECCC0-4957-4088-A066-6B49BFFEE0A2}" presName="hierChild4" presStyleCnt="0"/>
      <dgm:spPr/>
    </dgm:pt>
    <dgm:pt modelId="{C7ECFE7A-9FAC-4D6C-AEEA-5DF21A4EACEE}" type="pres">
      <dgm:prSet presAssocID="{F43ECCC0-4957-4088-A066-6B49BFFEE0A2}" presName="hierChild5" presStyleCnt="0"/>
      <dgm:spPr/>
    </dgm:pt>
    <dgm:pt modelId="{6192AC8A-6DAE-493D-998C-E129B22742C4}" type="pres">
      <dgm:prSet presAssocID="{4FD0348C-E7FA-4474-9132-FA61A6AC5521}" presName="hierChild5" presStyleCnt="0"/>
      <dgm:spPr/>
    </dgm:pt>
    <dgm:pt modelId="{85A8F7D5-D448-42CB-A244-4D9D047ED72E}" type="pres">
      <dgm:prSet presAssocID="{0FA8FF68-0472-4783-A0AC-889B7707E067}" presName="Name37" presStyleLbl="parChTrans1D2" presStyleIdx="1" presStyleCnt="4"/>
      <dgm:spPr/>
    </dgm:pt>
    <dgm:pt modelId="{FB35695D-237C-448B-A3A0-40E177886A01}" type="pres">
      <dgm:prSet presAssocID="{691ADFE0-63DD-444D-A3E4-24C9A1348CA0}" presName="hierRoot2" presStyleCnt="0">
        <dgm:presLayoutVars>
          <dgm:hierBranch val="init"/>
        </dgm:presLayoutVars>
      </dgm:prSet>
      <dgm:spPr/>
    </dgm:pt>
    <dgm:pt modelId="{2A585651-3174-41BF-8EC2-36E73A9AA227}" type="pres">
      <dgm:prSet presAssocID="{691ADFE0-63DD-444D-A3E4-24C9A1348CA0}" presName="rootComposite" presStyleCnt="0"/>
      <dgm:spPr/>
    </dgm:pt>
    <dgm:pt modelId="{F6A75A2F-2216-4C83-B848-0525D41FD90D}" type="pres">
      <dgm:prSet presAssocID="{691ADFE0-63DD-444D-A3E4-24C9A1348CA0}" presName="rootText" presStyleLbl="node2" presStyleIdx="1" presStyleCnt="4">
        <dgm:presLayoutVars>
          <dgm:chPref val="3"/>
        </dgm:presLayoutVars>
      </dgm:prSet>
      <dgm:spPr/>
    </dgm:pt>
    <dgm:pt modelId="{B521C8EB-6F8E-401F-9C9E-BD924B3A3BD6}" type="pres">
      <dgm:prSet presAssocID="{691ADFE0-63DD-444D-A3E4-24C9A1348CA0}" presName="rootConnector" presStyleLbl="node2" presStyleIdx="1" presStyleCnt="4"/>
      <dgm:spPr/>
    </dgm:pt>
    <dgm:pt modelId="{E03874DA-A624-4EC7-AEC3-2D8BA20700DD}" type="pres">
      <dgm:prSet presAssocID="{691ADFE0-63DD-444D-A3E4-24C9A1348CA0}" presName="hierChild4" presStyleCnt="0"/>
      <dgm:spPr/>
    </dgm:pt>
    <dgm:pt modelId="{4B694A83-35A0-4E81-924E-274BC74DD2E8}" type="pres">
      <dgm:prSet presAssocID="{A9CCDE0E-9383-4C0C-B2B7-3C81D1BE0746}" presName="Name37" presStyleLbl="parChTrans1D3" presStyleIdx="5" presStyleCnt="11"/>
      <dgm:spPr/>
    </dgm:pt>
    <dgm:pt modelId="{A33CA463-BAC4-4E05-88FA-BB13447FF6B9}" type="pres">
      <dgm:prSet presAssocID="{91C7F0CA-0F90-46A5-92A1-43CF6D6FC93C}" presName="hierRoot2" presStyleCnt="0">
        <dgm:presLayoutVars>
          <dgm:hierBranch val="init"/>
        </dgm:presLayoutVars>
      </dgm:prSet>
      <dgm:spPr/>
    </dgm:pt>
    <dgm:pt modelId="{DC337E24-8B0E-455F-9276-29A2C0EEB3BA}" type="pres">
      <dgm:prSet presAssocID="{91C7F0CA-0F90-46A5-92A1-43CF6D6FC93C}" presName="rootComposite" presStyleCnt="0"/>
      <dgm:spPr/>
    </dgm:pt>
    <dgm:pt modelId="{244C33D1-F171-4301-B277-E3A3D23B11A5}" type="pres">
      <dgm:prSet presAssocID="{91C7F0CA-0F90-46A5-92A1-43CF6D6FC93C}" presName="rootText" presStyleLbl="node3" presStyleIdx="5" presStyleCnt="11">
        <dgm:presLayoutVars>
          <dgm:chPref val="3"/>
        </dgm:presLayoutVars>
      </dgm:prSet>
      <dgm:spPr/>
    </dgm:pt>
    <dgm:pt modelId="{134F057B-3738-4AF7-9FC0-429F39B3B5B1}" type="pres">
      <dgm:prSet presAssocID="{91C7F0CA-0F90-46A5-92A1-43CF6D6FC93C}" presName="rootConnector" presStyleLbl="node3" presStyleIdx="5" presStyleCnt="11"/>
      <dgm:spPr/>
    </dgm:pt>
    <dgm:pt modelId="{75DC45CD-5A55-4FA6-B2E0-5C6F16F6420C}" type="pres">
      <dgm:prSet presAssocID="{91C7F0CA-0F90-46A5-92A1-43CF6D6FC93C}" presName="hierChild4" presStyleCnt="0"/>
      <dgm:spPr/>
    </dgm:pt>
    <dgm:pt modelId="{F89B88A6-8566-4DDF-9764-22C8CDFE9840}" type="pres">
      <dgm:prSet presAssocID="{91C7F0CA-0F90-46A5-92A1-43CF6D6FC93C}" presName="hierChild5" presStyleCnt="0"/>
      <dgm:spPr/>
    </dgm:pt>
    <dgm:pt modelId="{450B8979-32E9-4487-A7A7-0CBE74839F7C}" type="pres">
      <dgm:prSet presAssocID="{BF41108A-0AED-4051-BFC2-9DBC1459497F}" presName="Name37" presStyleLbl="parChTrans1D3" presStyleIdx="6" presStyleCnt="11"/>
      <dgm:spPr/>
    </dgm:pt>
    <dgm:pt modelId="{99A4DCD8-7A1E-4FDE-9458-0844083259EE}" type="pres">
      <dgm:prSet presAssocID="{4CFC5C3F-89A5-4C0D-AB03-823F49F25284}" presName="hierRoot2" presStyleCnt="0">
        <dgm:presLayoutVars>
          <dgm:hierBranch val="init"/>
        </dgm:presLayoutVars>
      </dgm:prSet>
      <dgm:spPr/>
    </dgm:pt>
    <dgm:pt modelId="{3357E958-A524-499F-AD20-DD50F5A01A4F}" type="pres">
      <dgm:prSet presAssocID="{4CFC5C3F-89A5-4C0D-AB03-823F49F25284}" presName="rootComposite" presStyleCnt="0"/>
      <dgm:spPr/>
    </dgm:pt>
    <dgm:pt modelId="{C1136C57-F48D-4C69-B106-2A8BF6A09DAC}" type="pres">
      <dgm:prSet presAssocID="{4CFC5C3F-89A5-4C0D-AB03-823F49F25284}" presName="rootText" presStyleLbl="node3" presStyleIdx="6" presStyleCnt="11">
        <dgm:presLayoutVars>
          <dgm:chPref val="3"/>
        </dgm:presLayoutVars>
      </dgm:prSet>
      <dgm:spPr/>
    </dgm:pt>
    <dgm:pt modelId="{BB0C576E-BFAD-434B-A4B1-2680468E6548}" type="pres">
      <dgm:prSet presAssocID="{4CFC5C3F-89A5-4C0D-AB03-823F49F25284}" presName="rootConnector" presStyleLbl="node3" presStyleIdx="6" presStyleCnt="11"/>
      <dgm:spPr/>
    </dgm:pt>
    <dgm:pt modelId="{45657797-E8C2-4F2D-9DC9-654CDB4FDEE3}" type="pres">
      <dgm:prSet presAssocID="{4CFC5C3F-89A5-4C0D-AB03-823F49F25284}" presName="hierChild4" presStyleCnt="0"/>
      <dgm:spPr/>
    </dgm:pt>
    <dgm:pt modelId="{6594AD60-3BC8-4BF0-9378-59D8BC96C359}" type="pres">
      <dgm:prSet presAssocID="{4CFC5C3F-89A5-4C0D-AB03-823F49F25284}" presName="hierChild5" presStyleCnt="0"/>
      <dgm:spPr/>
    </dgm:pt>
    <dgm:pt modelId="{A6F8EE84-C9BB-43F9-8689-AF35B744DBE7}" type="pres">
      <dgm:prSet presAssocID="{691ADFE0-63DD-444D-A3E4-24C9A1348CA0}" presName="hierChild5" presStyleCnt="0"/>
      <dgm:spPr/>
    </dgm:pt>
    <dgm:pt modelId="{6C1008FB-2905-44EE-BC17-C77DB0A4DB99}" type="pres">
      <dgm:prSet presAssocID="{2CD757F6-7D33-4ED2-9189-C039A8C46120}" presName="Name37" presStyleLbl="parChTrans1D2" presStyleIdx="2" presStyleCnt="4"/>
      <dgm:spPr/>
    </dgm:pt>
    <dgm:pt modelId="{E02DE50E-9888-4496-9ECB-32B228CAF81F}" type="pres">
      <dgm:prSet presAssocID="{81BC1A39-4725-4A27-8CA0-EC52699C52A9}" presName="hierRoot2" presStyleCnt="0">
        <dgm:presLayoutVars>
          <dgm:hierBranch val="init"/>
        </dgm:presLayoutVars>
      </dgm:prSet>
      <dgm:spPr/>
    </dgm:pt>
    <dgm:pt modelId="{8E2A1472-8EED-4FC1-9504-3CF56E106382}" type="pres">
      <dgm:prSet presAssocID="{81BC1A39-4725-4A27-8CA0-EC52699C52A9}" presName="rootComposite" presStyleCnt="0"/>
      <dgm:spPr/>
    </dgm:pt>
    <dgm:pt modelId="{0C8B4CA2-0CC7-44BC-95AB-A1CB46BB625C}" type="pres">
      <dgm:prSet presAssocID="{81BC1A39-4725-4A27-8CA0-EC52699C52A9}" presName="rootText" presStyleLbl="node2" presStyleIdx="2" presStyleCnt="4">
        <dgm:presLayoutVars>
          <dgm:chPref val="3"/>
        </dgm:presLayoutVars>
      </dgm:prSet>
      <dgm:spPr/>
    </dgm:pt>
    <dgm:pt modelId="{7D22DDBC-1378-42AE-B080-22CE47839DA6}" type="pres">
      <dgm:prSet presAssocID="{81BC1A39-4725-4A27-8CA0-EC52699C52A9}" presName="rootConnector" presStyleLbl="node2" presStyleIdx="2" presStyleCnt="4"/>
      <dgm:spPr/>
    </dgm:pt>
    <dgm:pt modelId="{086AADC8-F95B-4C8C-B7E8-23561BECC470}" type="pres">
      <dgm:prSet presAssocID="{81BC1A39-4725-4A27-8CA0-EC52699C52A9}" presName="hierChild4" presStyleCnt="0"/>
      <dgm:spPr/>
    </dgm:pt>
    <dgm:pt modelId="{7DB2D8DE-2F2F-4D6F-8FD8-05ED0F91DB3A}" type="pres">
      <dgm:prSet presAssocID="{A3D811D6-243F-4EB2-A8FE-75E002189D6D}" presName="Name37" presStyleLbl="parChTrans1D3" presStyleIdx="7" presStyleCnt="11"/>
      <dgm:spPr/>
    </dgm:pt>
    <dgm:pt modelId="{633D97C3-E941-4125-A830-8DEB1E7FB44C}" type="pres">
      <dgm:prSet presAssocID="{44E246D3-8876-42A4-A6A0-24CCAF3F1D48}" presName="hierRoot2" presStyleCnt="0">
        <dgm:presLayoutVars>
          <dgm:hierBranch val="init"/>
        </dgm:presLayoutVars>
      </dgm:prSet>
      <dgm:spPr/>
    </dgm:pt>
    <dgm:pt modelId="{B004D40C-3F66-4C55-87D9-DA33EE755D55}" type="pres">
      <dgm:prSet presAssocID="{44E246D3-8876-42A4-A6A0-24CCAF3F1D48}" presName="rootComposite" presStyleCnt="0"/>
      <dgm:spPr/>
    </dgm:pt>
    <dgm:pt modelId="{EA64A722-B324-424D-A47E-6575C08CF604}" type="pres">
      <dgm:prSet presAssocID="{44E246D3-8876-42A4-A6A0-24CCAF3F1D48}" presName="rootText" presStyleLbl="node3" presStyleIdx="7" presStyleCnt="11">
        <dgm:presLayoutVars>
          <dgm:chPref val="3"/>
        </dgm:presLayoutVars>
      </dgm:prSet>
      <dgm:spPr/>
    </dgm:pt>
    <dgm:pt modelId="{CECEB8A8-CECD-474A-AA42-705BCA4C3A10}" type="pres">
      <dgm:prSet presAssocID="{44E246D3-8876-42A4-A6A0-24CCAF3F1D48}" presName="rootConnector" presStyleLbl="node3" presStyleIdx="7" presStyleCnt="11"/>
      <dgm:spPr/>
    </dgm:pt>
    <dgm:pt modelId="{CA5D7697-C964-41A7-AF04-26F3E2DA477D}" type="pres">
      <dgm:prSet presAssocID="{44E246D3-8876-42A4-A6A0-24CCAF3F1D48}" presName="hierChild4" presStyleCnt="0"/>
      <dgm:spPr/>
    </dgm:pt>
    <dgm:pt modelId="{35280EC4-D647-4B0F-BF7A-D15C8838F2EC}" type="pres">
      <dgm:prSet presAssocID="{44E246D3-8876-42A4-A6A0-24CCAF3F1D48}" presName="hierChild5" presStyleCnt="0"/>
      <dgm:spPr/>
    </dgm:pt>
    <dgm:pt modelId="{A4162EED-82D2-4073-8549-FADFB663C977}" type="pres">
      <dgm:prSet presAssocID="{815FF097-B292-45B2-98EF-9D01E7FF8BCC}" presName="Name37" presStyleLbl="parChTrans1D3" presStyleIdx="8" presStyleCnt="11"/>
      <dgm:spPr/>
    </dgm:pt>
    <dgm:pt modelId="{9340DB10-39CD-4243-A2B3-387D6629EE25}" type="pres">
      <dgm:prSet presAssocID="{295A26D7-0B0A-40C8-B1BE-91D3F79B1EFB}" presName="hierRoot2" presStyleCnt="0">
        <dgm:presLayoutVars>
          <dgm:hierBranch val="init"/>
        </dgm:presLayoutVars>
      </dgm:prSet>
      <dgm:spPr/>
    </dgm:pt>
    <dgm:pt modelId="{B5B2F5D6-4A9C-4371-BF2C-E7F9D3AB92BD}" type="pres">
      <dgm:prSet presAssocID="{295A26D7-0B0A-40C8-B1BE-91D3F79B1EFB}" presName="rootComposite" presStyleCnt="0"/>
      <dgm:spPr/>
    </dgm:pt>
    <dgm:pt modelId="{E65664F7-6ECB-406B-A238-FEBCFDAAC7AA}" type="pres">
      <dgm:prSet presAssocID="{295A26D7-0B0A-40C8-B1BE-91D3F79B1EFB}" presName="rootText" presStyleLbl="node3" presStyleIdx="8" presStyleCnt="11">
        <dgm:presLayoutVars>
          <dgm:chPref val="3"/>
        </dgm:presLayoutVars>
      </dgm:prSet>
      <dgm:spPr/>
    </dgm:pt>
    <dgm:pt modelId="{F5E8CF58-4D62-4DF7-BBEA-3B9D45C70AAE}" type="pres">
      <dgm:prSet presAssocID="{295A26D7-0B0A-40C8-B1BE-91D3F79B1EFB}" presName="rootConnector" presStyleLbl="node3" presStyleIdx="8" presStyleCnt="11"/>
      <dgm:spPr/>
    </dgm:pt>
    <dgm:pt modelId="{A4050A97-4B95-4A88-8675-14E5F61C543E}" type="pres">
      <dgm:prSet presAssocID="{295A26D7-0B0A-40C8-B1BE-91D3F79B1EFB}" presName="hierChild4" presStyleCnt="0"/>
      <dgm:spPr/>
    </dgm:pt>
    <dgm:pt modelId="{1325BC5F-BB00-4762-99FE-A498C078FCF9}" type="pres">
      <dgm:prSet presAssocID="{295A26D7-0B0A-40C8-B1BE-91D3F79B1EFB}" presName="hierChild5" presStyleCnt="0"/>
      <dgm:spPr/>
    </dgm:pt>
    <dgm:pt modelId="{DE001A0D-BB8C-41F8-A4BD-A80A0419B2A1}" type="pres">
      <dgm:prSet presAssocID="{81BC1A39-4725-4A27-8CA0-EC52699C52A9}" presName="hierChild5" presStyleCnt="0"/>
      <dgm:spPr/>
    </dgm:pt>
    <dgm:pt modelId="{60018DAF-93C5-45D3-91B7-4E6FDB9A41B1}" type="pres">
      <dgm:prSet presAssocID="{013DF7CD-81E6-4AB0-A618-533B0AEB7753}" presName="Name37" presStyleLbl="parChTrans1D2" presStyleIdx="3" presStyleCnt="4"/>
      <dgm:spPr/>
    </dgm:pt>
    <dgm:pt modelId="{478D8266-A832-4FD7-91E5-E50905706B14}" type="pres">
      <dgm:prSet presAssocID="{D6B8DB8D-BD33-45B0-B699-FBE493686705}" presName="hierRoot2" presStyleCnt="0">
        <dgm:presLayoutVars>
          <dgm:hierBranch val="init"/>
        </dgm:presLayoutVars>
      </dgm:prSet>
      <dgm:spPr/>
    </dgm:pt>
    <dgm:pt modelId="{1F03D026-7C6B-45CC-BEA3-C7908BD0A92E}" type="pres">
      <dgm:prSet presAssocID="{D6B8DB8D-BD33-45B0-B699-FBE493686705}" presName="rootComposite" presStyleCnt="0"/>
      <dgm:spPr/>
    </dgm:pt>
    <dgm:pt modelId="{27D2AC9F-9D61-4219-9D49-5B1549A9970B}" type="pres">
      <dgm:prSet presAssocID="{D6B8DB8D-BD33-45B0-B699-FBE493686705}" presName="rootText" presStyleLbl="node2" presStyleIdx="3" presStyleCnt="4">
        <dgm:presLayoutVars>
          <dgm:chPref val="3"/>
        </dgm:presLayoutVars>
      </dgm:prSet>
      <dgm:spPr/>
    </dgm:pt>
    <dgm:pt modelId="{0C1892CA-2347-48AD-A21E-7895607C3FBD}" type="pres">
      <dgm:prSet presAssocID="{D6B8DB8D-BD33-45B0-B699-FBE493686705}" presName="rootConnector" presStyleLbl="node2" presStyleIdx="3" presStyleCnt="4"/>
      <dgm:spPr/>
    </dgm:pt>
    <dgm:pt modelId="{96363F6C-1574-44E8-AD2E-6A03EC963C01}" type="pres">
      <dgm:prSet presAssocID="{D6B8DB8D-BD33-45B0-B699-FBE493686705}" presName="hierChild4" presStyleCnt="0"/>
      <dgm:spPr/>
    </dgm:pt>
    <dgm:pt modelId="{92BDE221-860B-485D-826D-C68476C4697F}" type="pres">
      <dgm:prSet presAssocID="{920D5406-0E11-4CD6-AFD3-75D28FDF301A}" presName="Name37" presStyleLbl="parChTrans1D3" presStyleIdx="9" presStyleCnt="11"/>
      <dgm:spPr/>
    </dgm:pt>
    <dgm:pt modelId="{07317B43-A94D-4B57-A76E-496456E7B351}" type="pres">
      <dgm:prSet presAssocID="{00845C19-EDFA-4088-824D-2D392C3952CA}" presName="hierRoot2" presStyleCnt="0">
        <dgm:presLayoutVars>
          <dgm:hierBranch val="init"/>
        </dgm:presLayoutVars>
      </dgm:prSet>
      <dgm:spPr/>
    </dgm:pt>
    <dgm:pt modelId="{54A60E86-6C17-4C31-82BA-9F6FCC0250C7}" type="pres">
      <dgm:prSet presAssocID="{00845C19-EDFA-4088-824D-2D392C3952CA}" presName="rootComposite" presStyleCnt="0"/>
      <dgm:spPr/>
    </dgm:pt>
    <dgm:pt modelId="{19685B35-BCBC-4C36-B436-31925F73ECD0}" type="pres">
      <dgm:prSet presAssocID="{00845C19-EDFA-4088-824D-2D392C3952CA}" presName="rootText" presStyleLbl="node3" presStyleIdx="9" presStyleCnt="11">
        <dgm:presLayoutVars>
          <dgm:chPref val="3"/>
        </dgm:presLayoutVars>
      </dgm:prSet>
      <dgm:spPr/>
    </dgm:pt>
    <dgm:pt modelId="{990F56F4-8813-4BFA-8309-DA71D39C832E}" type="pres">
      <dgm:prSet presAssocID="{00845C19-EDFA-4088-824D-2D392C3952CA}" presName="rootConnector" presStyleLbl="node3" presStyleIdx="9" presStyleCnt="11"/>
      <dgm:spPr/>
    </dgm:pt>
    <dgm:pt modelId="{5BA18DDF-D875-4766-B5C6-247AE332035C}" type="pres">
      <dgm:prSet presAssocID="{00845C19-EDFA-4088-824D-2D392C3952CA}" presName="hierChild4" presStyleCnt="0"/>
      <dgm:spPr/>
    </dgm:pt>
    <dgm:pt modelId="{FBA8159E-4BDA-47DE-A5E0-2BA5B365DE30}" type="pres">
      <dgm:prSet presAssocID="{00845C19-EDFA-4088-824D-2D392C3952CA}" presName="hierChild5" presStyleCnt="0"/>
      <dgm:spPr/>
    </dgm:pt>
    <dgm:pt modelId="{39BC1D1A-339C-406C-BCB9-FC74AFFB6DFB}" type="pres">
      <dgm:prSet presAssocID="{5049BB69-F894-49C2-87B8-AE6279A51261}" presName="Name37" presStyleLbl="parChTrans1D3" presStyleIdx="10" presStyleCnt="11"/>
      <dgm:spPr/>
    </dgm:pt>
    <dgm:pt modelId="{C8E89928-7C4B-4912-8BF9-6C6A70CB31DC}" type="pres">
      <dgm:prSet presAssocID="{44DE8E44-4D7B-40C0-82B5-6E344E34D2D4}" presName="hierRoot2" presStyleCnt="0">
        <dgm:presLayoutVars>
          <dgm:hierBranch val="init"/>
        </dgm:presLayoutVars>
      </dgm:prSet>
      <dgm:spPr/>
    </dgm:pt>
    <dgm:pt modelId="{C33B54C9-A6D0-4F11-9DBB-6B85C8077203}" type="pres">
      <dgm:prSet presAssocID="{44DE8E44-4D7B-40C0-82B5-6E344E34D2D4}" presName="rootComposite" presStyleCnt="0"/>
      <dgm:spPr/>
    </dgm:pt>
    <dgm:pt modelId="{39338418-6235-48F2-8CC1-E2AA03514886}" type="pres">
      <dgm:prSet presAssocID="{44DE8E44-4D7B-40C0-82B5-6E344E34D2D4}" presName="rootText" presStyleLbl="node3" presStyleIdx="10" presStyleCnt="11">
        <dgm:presLayoutVars>
          <dgm:chPref val="3"/>
        </dgm:presLayoutVars>
      </dgm:prSet>
      <dgm:spPr/>
    </dgm:pt>
    <dgm:pt modelId="{A280BB14-D0EC-42FD-A151-FC936C079BD7}" type="pres">
      <dgm:prSet presAssocID="{44DE8E44-4D7B-40C0-82B5-6E344E34D2D4}" presName="rootConnector" presStyleLbl="node3" presStyleIdx="10" presStyleCnt="11"/>
      <dgm:spPr/>
    </dgm:pt>
    <dgm:pt modelId="{F1916DC8-0DE2-41E8-B38E-632675089B89}" type="pres">
      <dgm:prSet presAssocID="{44DE8E44-4D7B-40C0-82B5-6E344E34D2D4}" presName="hierChild4" presStyleCnt="0"/>
      <dgm:spPr/>
    </dgm:pt>
    <dgm:pt modelId="{8F9785E6-D4C8-4158-9F10-6AD033178717}" type="pres">
      <dgm:prSet presAssocID="{44DE8E44-4D7B-40C0-82B5-6E344E34D2D4}" presName="hierChild5" presStyleCnt="0"/>
      <dgm:spPr/>
    </dgm:pt>
    <dgm:pt modelId="{1853292D-C15A-4227-829A-B3B97B7CB3F7}" type="pres">
      <dgm:prSet presAssocID="{D6B8DB8D-BD33-45B0-B699-FBE493686705}" presName="hierChild5" presStyleCnt="0"/>
      <dgm:spPr/>
    </dgm:pt>
    <dgm:pt modelId="{AA910AA1-CD22-4E52-A589-7A1A5789017F}" type="pres">
      <dgm:prSet presAssocID="{2CD810D4-3E75-4903-9ABB-39CEB1D42E87}" presName="hierChild3" presStyleCnt="0"/>
      <dgm:spPr/>
    </dgm:pt>
  </dgm:ptLst>
  <dgm:cxnLst>
    <dgm:cxn modelId="{802E3603-9FE1-4C74-A41E-2698B3371CDD}" srcId="{2CD810D4-3E75-4903-9ABB-39CEB1D42E87}" destId="{D6B8DB8D-BD33-45B0-B699-FBE493686705}" srcOrd="3" destOrd="0" parTransId="{013DF7CD-81E6-4AB0-A618-533B0AEB7753}" sibTransId="{8DC0AF96-79B7-497C-A079-E9BEFFED7BF7}"/>
    <dgm:cxn modelId="{48E7B403-A0BA-412E-AC5C-11A6E1F31C2A}" type="presOf" srcId="{2CD757F6-7D33-4ED2-9189-C039A8C46120}" destId="{6C1008FB-2905-44EE-BC17-C77DB0A4DB99}" srcOrd="0" destOrd="0" presId="urn:microsoft.com/office/officeart/2005/8/layout/orgChart1"/>
    <dgm:cxn modelId="{4AF20914-8C3A-4A0E-AD4B-E48FD1D55848}" srcId="{81BC1A39-4725-4A27-8CA0-EC52699C52A9}" destId="{44E246D3-8876-42A4-A6A0-24CCAF3F1D48}" srcOrd="0" destOrd="0" parTransId="{A3D811D6-243F-4EB2-A8FE-75E002189D6D}" sibTransId="{9FF239E5-7DC5-4B97-8113-DFDDCAB23D20}"/>
    <dgm:cxn modelId="{57653614-D00C-4CCA-8998-D57DA3E6E7E2}" type="presOf" srcId="{2CD810D4-3E75-4903-9ABB-39CEB1D42E87}" destId="{8F84C4E3-EF8E-472E-8FA0-695D2E24AFB4}" srcOrd="0" destOrd="0" presId="urn:microsoft.com/office/officeart/2005/8/layout/orgChart1"/>
    <dgm:cxn modelId="{3A473715-C49E-485E-AA76-CC82A6935FBF}" type="presOf" srcId="{691ADFE0-63DD-444D-A3E4-24C9A1348CA0}" destId="{B521C8EB-6F8E-401F-9C9E-BD924B3A3BD6}" srcOrd="1" destOrd="0" presId="urn:microsoft.com/office/officeart/2005/8/layout/orgChart1"/>
    <dgm:cxn modelId="{0F3F3F1D-9F7B-4563-886A-1FF255D6B493}" type="presOf" srcId="{CF18D4A1-924D-4864-AB67-BA4993BEEBA4}" destId="{DC3B600E-202C-4F18-9F58-C22458346209}" srcOrd="0" destOrd="0" presId="urn:microsoft.com/office/officeart/2005/8/layout/orgChart1"/>
    <dgm:cxn modelId="{2E4DC41F-FFF2-433F-8C6B-F2E19CBB601D}" srcId="{81BC1A39-4725-4A27-8CA0-EC52699C52A9}" destId="{295A26D7-0B0A-40C8-B1BE-91D3F79B1EFB}" srcOrd="1" destOrd="0" parTransId="{815FF097-B292-45B2-98EF-9D01E7FF8BCC}" sibTransId="{1551140F-952F-4A40-902B-EB9666568631}"/>
    <dgm:cxn modelId="{03DB4021-D6DA-4D04-B9DB-F73BA701374C}" type="presOf" srcId="{D6B8DB8D-BD33-45B0-B699-FBE493686705}" destId="{27D2AC9F-9D61-4219-9D49-5B1549A9970B}" srcOrd="0" destOrd="0" presId="urn:microsoft.com/office/officeart/2005/8/layout/orgChart1"/>
    <dgm:cxn modelId="{CFCBC122-010D-42D7-8127-9E62F8725010}" type="presOf" srcId="{815FF097-B292-45B2-98EF-9D01E7FF8BCC}" destId="{A4162EED-82D2-4073-8549-FADFB663C977}" srcOrd="0" destOrd="0" presId="urn:microsoft.com/office/officeart/2005/8/layout/orgChart1"/>
    <dgm:cxn modelId="{CA7FD433-E1BC-4544-9C23-B6E08ACAA933}" type="presOf" srcId="{775435F1-163D-4085-8B7B-EB910FB23F67}" destId="{12F9DEBF-D4B9-408A-941C-7863B57FE8B0}" srcOrd="0" destOrd="0" presId="urn:microsoft.com/office/officeart/2005/8/layout/orgChart1"/>
    <dgm:cxn modelId="{D3F61137-9D46-4A34-9873-9D913C732753}" type="presOf" srcId="{91C7F0CA-0F90-46A5-92A1-43CF6D6FC93C}" destId="{134F057B-3738-4AF7-9FC0-429F39B3B5B1}" srcOrd="1" destOrd="0" presId="urn:microsoft.com/office/officeart/2005/8/layout/orgChart1"/>
    <dgm:cxn modelId="{A5267A37-B655-4942-BE36-53D3E34B355A}" type="presOf" srcId="{00845C19-EDFA-4088-824D-2D392C3952CA}" destId="{990F56F4-8813-4BFA-8309-DA71D39C832E}" srcOrd="1" destOrd="0" presId="urn:microsoft.com/office/officeart/2005/8/layout/orgChart1"/>
    <dgm:cxn modelId="{4BEF413B-1BD2-4D87-8C16-4F0B5B6D1F4D}" type="presOf" srcId="{5049BB69-F894-49C2-87B8-AE6279A51261}" destId="{39BC1D1A-339C-406C-BCB9-FC74AFFB6DFB}" srcOrd="0" destOrd="0" presId="urn:microsoft.com/office/officeart/2005/8/layout/orgChart1"/>
    <dgm:cxn modelId="{D2B3AC63-DC07-447C-85CB-5A1EB09CC3EF}" type="presOf" srcId="{4FD0348C-E7FA-4474-9132-FA61A6AC5521}" destId="{38C2765C-5D95-4FDF-8082-43B5A9041EDF}" srcOrd="1" destOrd="0" presId="urn:microsoft.com/office/officeart/2005/8/layout/orgChart1"/>
    <dgm:cxn modelId="{17706849-8BB5-4B84-887A-192E3096BEB8}" type="presOf" srcId="{91C7F0CA-0F90-46A5-92A1-43CF6D6FC93C}" destId="{244C33D1-F171-4301-B277-E3A3D23B11A5}" srcOrd="0" destOrd="0" presId="urn:microsoft.com/office/officeart/2005/8/layout/orgChart1"/>
    <dgm:cxn modelId="{0CC6074A-8B93-4654-9FFC-75196A9B2D83}" type="presOf" srcId="{BF41108A-0AED-4051-BFC2-9DBC1459497F}" destId="{450B8979-32E9-4487-A7A7-0CBE74839F7C}" srcOrd="0" destOrd="0" presId="urn:microsoft.com/office/officeart/2005/8/layout/orgChart1"/>
    <dgm:cxn modelId="{E7852D6A-515A-49F7-AB14-A64DE4A0B156}" type="presOf" srcId="{44E246D3-8876-42A4-A6A0-24CCAF3F1D48}" destId="{CECEB8A8-CECD-474A-AA42-705BCA4C3A10}" srcOrd="1" destOrd="0" presId="urn:microsoft.com/office/officeart/2005/8/layout/orgChart1"/>
    <dgm:cxn modelId="{6CD3024E-A69A-4ADF-9BA3-952B583C9A73}" type="presOf" srcId="{F43ECCC0-4957-4088-A066-6B49BFFEE0A2}" destId="{4B6D7E5B-7E4D-4F37-ADCF-3D476E787443}" srcOrd="1" destOrd="0" presId="urn:microsoft.com/office/officeart/2005/8/layout/orgChart1"/>
    <dgm:cxn modelId="{5AE52A72-F2CD-4862-A37A-6546D49889B2}" type="presOf" srcId="{D6B8DB8D-BD33-45B0-B699-FBE493686705}" destId="{0C1892CA-2347-48AD-A21E-7895607C3FBD}" srcOrd="1" destOrd="0" presId="urn:microsoft.com/office/officeart/2005/8/layout/orgChart1"/>
    <dgm:cxn modelId="{73C12775-18E4-4CA8-BE12-1B73938F034C}" type="presOf" srcId="{81BC1A39-4725-4A27-8CA0-EC52699C52A9}" destId="{0C8B4CA2-0CC7-44BC-95AB-A1CB46BB625C}" srcOrd="0" destOrd="0" presId="urn:microsoft.com/office/officeart/2005/8/layout/orgChart1"/>
    <dgm:cxn modelId="{1187BF75-1E9E-4A3F-AC85-9E55C0195F7C}" type="presOf" srcId="{A3290EB2-130A-4F8F-B2C4-30151493B9C7}" destId="{ED55C31D-FA44-4C60-8D31-7C490FBD7124}" srcOrd="0" destOrd="0" presId="urn:microsoft.com/office/officeart/2005/8/layout/orgChart1"/>
    <dgm:cxn modelId="{CF19E976-F0A5-4FCC-8BB7-7F7F4CADFED8}" type="presOf" srcId="{44E246D3-8876-42A4-A6A0-24CCAF3F1D48}" destId="{EA64A722-B324-424D-A47E-6575C08CF604}" srcOrd="0" destOrd="0" presId="urn:microsoft.com/office/officeart/2005/8/layout/orgChart1"/>
    <dgm:cxn modelId="{37117A57-194D-4B33-BA6C-7AF0956C876A}" type="presOf" srcId="{A6AB4F94-FB48-4232-92FE-2E5B0A58E306}" destId="{7C618862-B533-47A8-80E3-408575FF5FCC}" srcOrd="0" destOrd="0" presId="urn:microsoft.com/office/officeart/2005/8/layout/orgChart1"/>
    <dgm:cxn modelId="{4CFE6958-83FE-434F-ABFD-842D41581AC5}" type="presOf" srcId="{920D5406-0E11-4CD6-AFD3-75D28FDF301A}" destId="{92BDE221-860B-485D-826D-C68476C4697F}" srcOrd="0" destOrd="0" presId="urn:microsoft.com/office/officeart/2005/8/layout/orgChart1"/>
    <dgm:cxn modelId="{8B7CE658-5BA0-4294-851C-704B374CF5A9}" type="presOf" srcId="{00845C19-EDFA-4088-824D-2D392C3952CA}" destId="{19685B35-BCBC-4C36-B436-31925F73ECD0}" srcOrd="0" destOrd="0" presId="urn:microsoft.com/office/officeart/2005/8/layout/orgChart1"/>
    <dgm:cxn modelId="{F7946579-4170-4717-A1C4-943C50EDAF14}" type="presOf" srcId="{44DE8E44-4D7B-40C0-82B5-6E344E34D2D4}" destId="{A280BB14-D0EC-42FD-A151-FC936C079BD7}" srcOrd="1" destOrd="0" presId="urn:microsoft.com/office/officeart/2005/8/layout/orgChart1"/>
    <dgm:cxn modelId="{935E1D7B-4D0C-45B7-B491-BFE6D2DE4489}" type="presOf" srcId="{295A26D7-0B0A-40C8-B1BE-91D3F79B1EFB}" destId="{F5E8CF58-4D62-4DF7-BBEA-3B9D45C70AAE}" srcOrd="1" destOrd="0" presId="urn:microsoft.com/office/officeart/2005/8/layout/orgChart1"/>
    <dgm:cxn modelId="{C88F1C7E-BCE5-4AF5-8DF3-3CF83F6CA6F9}" type="presOf" srcId="{A3D811D6-243F-4EB2-A8FE-75E002189D6D}" destId="{7DB2D8DE-2F2F-4D6F-8FD8-05ED0F91DB3A}" srcOrd="0" destOrd="0" presId="urn:microsoft.com/office/officeart/2005/8/layout/orgChart1"/>
    <dgm:cxn modelId="{1249DA80-F0EC-4AFE-A4A6-9538C9369561}" srcId="{691ADFE0-63DD-444D-A3E4-24C9A1348CA0}" destId="{91C7F0CA-0F90-46A5-92A1-43CF6D6FC93C}" srcOrd="0" destOrd="0" parTransId="{A9CCDE0E-9383-4C0C-B2B7-3C81D1BE0746}" sibTransId="{8D325CED-C09E-4692-B273-E4FED95F4CBF}"/>
    <dgm:cxn modelId="{51FFD48B-5058-4B66-ABF5-E64227BF844C}" srcId="{4FD0348C-E7FA-4474-9132-FA61A6AC5521}" destId="{775435F1-163D-4085-8B7B-EB910FB23F67}" srcOrd="1" destOrd="0" parTransId="{78EAF757-AC22-4BDA-ABB2-1C3DDA53B9E5}" sibTransId="{9767159D-248B-40D4-A173-E8A8A1448C76}"/>
    <dgm:cxn modelId="{F5ED2C94-4F4C-4432-B07F-5B9E5CAD50E8}" srcId="{4FD0348C-E7FA-4474-9132-FA61A6AC5521}" destId="{F43ECCC0-4957-4088-A066-6B49BFFEE0A2}" srcOrd="4" destOrd="0" parTransId="{96281C2C-4775-4F73-B3D0-6C1324AE255E}" sibTransId="{DD434104-2EF8-4796-B57C-C264BE55B6CE}"/>
    <dgm:cxn modelId="{0F11E694-9F2F-413F-9158-90B6E9B9E556}" type="presOf" srcId="{394234B2-E09D-4F28-A25C-D1E78530B73E}" destId="{123568E4-B3E5-4F0D-9C01-41A36CAF428E}" srcOrd="0" destOrd="0" presId="urn:microsoft.com/office/officeart/2005/8/layout/orgChart1"/>
    <dgm:cxn modelId="{7D7EFA97-1365-469D-A46F-1CDF7A573CB6}" srcId="{691ADFE0-63DD-444D-A3E4-24C9A1348CA0}" destId="{4CFC5C3F-89A5-4C0D-AB03-823F49F25284}" srcOrd="1" destOrd="0" parTransId="{BF41108A-0AED-4051-BFC2-9DBC1459497F}" sibTransId="{ACC27BAF-8B47-4C73-B241-116DF9FEDAB4}"/>
    <dgm:cxn modelId="{EB91DF9B-A40B-49B6-9F7E-AA19CB034CC1}" type="presOf" srcId="{74D2AA39-858F-4965-A128-DC73546BA13E}" destId="{E9878A1E-D429-47FA-B228-F750AB2612A0}" srcOrd="0" destOrd="0" presId="urn:microsoft.com/office/officeart/2005/8/layout/orgChart1"/>
    <dgm:cxn modelId="{EF4532A3-0D6E-4E19-AF34-F8381922E05D}" type="presOf" srcId="{EC569ABB-24E0-4897-A0E1-F740CA7A1BB1}" destId="{2E43C771-4652-45B0-8F8F-3E1BC4BA195E}" srcOrd="0" destOrd="0" presId="urn:microsoft.com/office/officeart/2005/8/layout/orgChart1"/>
    <dgm:cxn modelId="{D63D91A5-7A85-416F-B6BB-4C2C69523FC9}" type="presOf" srcId="{A3290EB2-130A-4F8F-B2C4-30151493B9C7}" destId="{D1FEB268-4B98-4868-8E5F-937E8F5AD18C}" srcOrd="1" destOrd="0" presId="urn:microsoft.com/office/officeart/2005/8/layout/orgChart1"/>
    <dgm:cxn modelId="{69AB74A6-645F-4FC3-AE49-B1D37632C818}" type="presOf" srcId="{78EAF757-AC22-4BDA-ABB2-1C3DDA53B9E5}" destId="{DC82830B-14FF-4863-B129-CF7FCAA99A99}" srcOrd="0" destOrd="0" presId="urn:microsoft.com/office/officeart/2005/8/layout/orgChart1"/>
    <dgm:cxn modelId="{71F5BAA6-08FC-437D-AD40-9597B53A6149}" srcId="{4FD0348C-E7FA-4474-9132-FA61A6AC5521}" destId="{74D2AA39-858F-4965-A128-DC73546BA13E}" srcOrd="0" destOrd="0" parTransId="{70088448-C968-4D14-98CE-EB36F21C4566}" sibTransId="{E70A9E89-CDE1-4B82-BA8C-E0ED0FBE3321}"/>
    <dgm:cxn modelId="{AAFA02AA-29C0-4D8C-B029-F7129BCF61FC}" type="presOf" srcId="{74D2AA39-858F-4965-A128-DC73546BA13E}" destId="{1FC0E982-0308-45F5-B0FF-E7BB1375146E}" srcOrd="1" destOrd="0" presId="urn:microsoft.com/office/officeart/2005/8/layout/orgChart1"/>
    <dgm:cxn modelId="{CA8CADAB-B0FE-4234-8F35-5805CE0594D4}" type="presOf" srcId="{E9600DDB-782F-4E1B-B3DE-D63A0D6DE3DC}" destId="{2AE33358-F224-4DC5-8D5D-D77C4131DC29}" srcOrd="0" destOrd="0" presId="urn:microsoft.com/office/officeart/2005/8/layout/orgChart1"/>
    <dgm:cxn modelId="{2C17ABAC-D15E-4188-BEA7-565EB3292B4F}" type="presOf" srcId="{4CFC5C3F-89A5-4C0D-AB03-823F49F25284}" destId="{BB0C576E-BFAD-434B-A4B1-2680468E6548}" srcOrd="1" destOrd="0" presId="urn:microsoft.com/office/officeart/2005/8/layout/orgChart1"/>
    <dgm:cxn modelId="{B85A11B5-AE9D-42D0-93DF-01BB3175D22F}" srcId="{2CD810D4-3E75-4903-9ABB-39CEB1D42E87}" destId="{691ADFE0-63DD-444D-A3E4-24C9A1348CA0}" srcOrd="1" destOrd="0" parTransId="{0FA8FF68-0472-4783-A0AC-889B7707E067}" sibTransId="{CF709A42-2CE7-42A4-A567-3DE5162EA626}"/>
    <dgm:cxn modelId="{8836CDBA-826B-4A8B-B40C-8E6EBA53D7B4}" type="presOf" srcId="{F43ECCC0-4957-4088-A066-6B49BFFEE0A2}" destId="{2EEF7B1D-30E8-44F5-B991-783652948585}" srcOrd="0" destOrd="0" presId="urn:microsoft.com/office/officeart/2005/8/layout/orgChart1"/>
    <dgm:cxn modelId="{16C18ABB-38B0-455F-AEA3-466396BAC08B}" srcId="{4FD0348C-E7FA-4474-9132-FA61A6AC5521}" destId="{A6AB4F94-FB48-4232-92FE-2E5B0A58E306}" srcOrd="2" destOrd="0" parTransId="{394234B2-E09D-4F28-A25C-D1E78530B73E}" sibTransId="{47DC3FE3-7631-4949-A0FF-90B6E4E40F90}"/>
    <dgm:cxn modelId="{7E61DCC1-B33D-454E-9679-887ABC971B86}" type="presOf" srcId="{775435F1-163D-4085-8B7B-EB910FB23F67}" destId="{68FBA7B0-ECD5-46B9-8F83-6F0CD2974606}" srcOrd="1" destOrd="0" presId="urn:microsoft.com/office/officeart/2005/8/layout/orgChart1"/>
    <dgm:cxn modelId="{6B5588C3-5F04-444D-8A6A-0EA262FB1D74}" type="presOf" srcId="{0FA8FF68-0472-4783-A0AC-889B7707E067}" destId="{85A8F7D5-D448-42CB-A244-4D9D047ED72E}" srcOrd="0" destOrd="0" presId="urn:microsoft.com/office/officeart/2005/8/layout/orgChart1"/>
    <dgm:cxn modelId="{C32922C4-771E-4CBF-869D-5D180779242B}" type="presOf" srcId="{A9CCDE0E-9383-4C0C-B2B7-3C81D1BE0746}" destId="{4B694A83-35A0-4E81-924E-274BC74DD2E8}" srcOrd="0" destOrd="0" presId="urn:microsoft.com/office/officeart/2005/8/layout/orgChart1"/>
    <dgm:cxn modelId="{FA02A5CC-3DAF-4F12-953F-1F97F133869C}" srcId="{D6B8DB8D-BD33-45B0-B699-FBE493686705}" destId="{00845C19-EDFA-4088-824D-2D392C3952CA}" srcOrd="0" destOrd="0" parTransId="{920D5406-0E11-4CD6-AFD3-75D28FDF301A}" sibTransId="{C2EFB961-985B-42E6-9BDB-DE76555CAFA3}"/>
    <dgm:cxn modelId="{3C8DE4CD-2DC0-4863-92DD-2295D0221956}" type="presOf" srcId="{2CD810D4-3E75-4903-9ABB-39CEB1D42E87}" destId="{BFEBAF61-0FA5-430C-B346-AC9479A93B5A}" srcOrd="1" destOrd="0" presId="urn:microsoft.com/office/officeart/2005/8/layout/orgChart1"/>
    <dgm:cxn modelId="{5F6AD9CF-A314-4147-AC11-6C0AD52B3884}" type="presOf" srcId="{295A26D7-0B0A-40C8-B1BE-91D3F79B1EFB}" destId="{E65664F7-6ECB-406B-A238-FEBCFDAAC7AA}" srcOrd="0" destOrd="0" presId="urn:microsoft.com/office/officeart/2005/8/layout/orgChart1"/>
    <dgm:cxn modelId="{61B4C3D2-1DDF-4778-BEA7-553AC28A4B33}" srcId="{4FD0348C-E7FA-4474-9132-FA61A6AC5521}" destId="{A3290EB2-130A-4F8F-B2C4-30151493B9C7}" srcOrd="3" destOrd="0" parTransId="{CF18D4A1-924D-4864-AB67-BA4993BEEBA4}" sibTransId="{182F7D9D-E4EB-45C2-92F3-94632E357E85}"/>
    <dgm:cxn modelId="{25E82DD6-2229-4069-9242-5CF8B4E59926}" type="presOf" srcId="{4CFC5C3F-89A5-4C0D-AB03-823F49F25284}" destId="{C1136C57-F48D-4C69-B106-2A8BF6A09DAC}" srcOrd="0" destOrd="0" presId="urn:microsoft.com/office/officeart/2005/8/layout/orgChart1"/>
    <dgm:cxn modelId="{60B093D8-E441-492E-ADFA-65F237933C9E}" srcId="{D6B8DB8D-BD33-45B0-B699-FBE493686705}" destId="{44DE8E44-4D7B-40C0-82B5-6E344E34D2D4}" srcOrd="1" destOrd="0" parTransId="{5049BB69-F894-49C2-87B8-AE6279A51261}" sibTransId="{5DCE111C-9128-4F3D-9685-5A3894D5E865}"/>
    <dgm:cxn modelId="{2D00BCD9-2A21-45A9-A10F-61FF6C1C40E2}" type="presOf" srcId="{96281C2C-4775-4F73-B3D0-6C1324AE255E}" destId="{064C40D6-16A7-494D-96EA-1AC110893762}" srcOrd="0" destOrd="0" presId="urn:microsoft.com/office/officeart/2005/8/layout/orgChart1"/>
    <dgm:cxn modelId="{2234B2DB-0402-4CFB-885F-6009BDA2813F}" type="presOf" srcId="{A6AB4F94-FB48-4232-92FE-2E5B0A58E306}" destId="{ACC38ABB-3007-47BA-9709-CAE6E714B174}" srcOrd="1" destOrd="0" presId="urn:microsoft.com/office/officeart/2005/8/layout/orgChart1"/>
    <dgm:cxn modelId="{6842EADC-1382-4B6E-8C02-E303F1287580}" type="presOf" srcId="{44DE8E44-4D7B-40C0-82B5-6E344E34D2D4}" destId="{39338418-6235-48F2-8CC1-E2AA03514886}" srcOrd="0" destOrd="0" presId="urn:microsoft.com/office/officeart/2005/8/layout/orgChart1"/>
    <dgm:cxn modelId="{DCE348EA-4FFC-49EC-BBEC-F5F6FFB62811}" type="presOf" srcId="{691ADFE0-63DD-444D-A3E4-24C9A1348CA0}" destId="{F6A75A2F-2216-4C83-B848-0525D41FD90D}" srcOrd="0" destOrd="0" presId="urn:microsoft.com/office/officeart/2005/8/layout/orgChart1"/>
    <dgm:cxn modelId="{E3F227EB-71AA-407A-A026-EA3D225F3799}" type="presOf" srcId="{4FD0348C-E7FA-4474-9132-FA61A6AC5521}" destId="{B0C541BE-6BEE-4048-A89B-0C59CE456E7F}" srcOrd="0" destOrd="0" presId="urn:microsoft.com/office/officeart/2005/8/layout/orgChart1"/>
    <dgm:cxn modelId="{6E949FF0-22F0-43CC-AF14-5494049EA2E5}" srcId="{E9600DDB-782F-4E1B-B3DE-D63A0D6DE3DC}" destId="{2CD810D4-3E75-4903-9ABB-39CEB1D42E87}" srcOrd="0" destOrd="0" parTransId="{CD57C23E-B047-4718-A7C9-60C03575BAA7}" sibTransId="{7ECDDD62-A51F-4F66-82B7-D548D1B9B4F3}"/>
    <dgm:cxn modelId="{B0888AF3-1BEB-4CE1-9005-BE48BA261EC0}" srcId="{2CD810D4-3E75-4903-9ABB-39CEB1D42E87}" destId="{4FD0348C-E7FA-4474-9132-FA61A6AC5521}" srcOrd="0" destOrd="0" parTransId="{EC569ABB-24E0-4897-A0E1-F740CA7A1BB1}" sibTransId="{25F25767-DDA8-46A6-AA58-13059EBA1F47}"/>
    <dgm:cxn modelId="{A619FCF3-7AE6-471A-A237-F9CAB76BE45F}" type="presOf" srcId="{81BC1A39-4725-4A27-8CA0-EC52699C52A9}" destId="{7D22DDBC-1378-42AE-B080-22CE47839DA6}" srcOrd="1" destOrd="0" presId="urn:microsoft.com/office/officeart/2005/8/layout/orgChart1"/>
    <dgm:cxn modelId="{F5B19EF8-4C7D-417D-8D72-72AE3A98BA3A}" type="presOf" srcId="{70088448-C968-4D14-98CE-EB36F21C4566}" destId="{28E3B826-A2A8-45C4-A9DA-3E65E26F4265}" srcOrd="0" destOrd="0" presId="urn:microsoft.com/office/officeart/2005/8/layout/orgChart1"/>
    <dgm:cxn modelId="{A24DCBF8-B0E6-4405-BDED-61E76ACA0F9F}" srcId="{2CD810D4-3E75-4903-9ABB-39CEB1D42E87}" destId="{81BC1A39-4725-4A27-8CA0-EC52699C52A9}" srcOrd="2" destOrd="0" parTransId="{2CD757F6-7D33-4ED2-9189-C039A8C46120}" sibTransId="{270834C4-342D-4EE0-A2F7-6D5BD6D2CAEE}"/>
    <dgm:cxn modelId="{617410FA-F8E4-4105-A275-2FD27A586F8D}" type="presOf" srcId="{013DF7CD-81E6-4AB0-A618-533B0AEB7753}" destId="{60018DAF-93C5-45D3-91B7-4E6FDB9A41B1}" srcOrd="0" destOrd="0" presId="urn:microsoft.com/office/officeart/2005/8/layout/orgChart1"/>
    <dgm:cxn modelId="{3BF602C2-5DE1-4234-9240-8951AC2BECDA}" type="presParOf" srcId="{2AE33358-F224-4DC5-8D5D-D77C4131DC29}" destId="{AAE2D367-9B1C-4C51-9EB0-69D92D601C03}" srcOrd="0" destOrd="0" presId="urn:microsoft.com/office/officeart/2005/8/layout/orgChart1"/>
    <dgm:cxn modelId="{35D46F9D-B422-4BFF-8EC8-A051571298E5}" type="presParOf" srcId="{AAE2D367-9B1C-4C51-9EB0-69D92D601C03}" destId="{6016C85F-1146-4EB3-89A6-78C2A163A037}" srcOrd="0" destOrd="0" presId="urn:microsoft.com/office/officeart/2005/8/layout/orgChart1"/>
    <dgm:cxn modelId="{523D315F-E2D0-4577-88FC-1458503E8352}" type="presParOf" srcId="{6016C85F-1146-4EB3-89A6-78C2A163A037}" destId="{8F84C4E3-EF8E-472E-8FA0-695D2E24AFB4}" srcOrd="0" destOrd="0" presId="urn:microsoft.com/office/officeart/2005/8/layout/orgChart1"/>
    <dgm:cxn modelId="{6FC7FCCB-BC15-4AA1-82D8-93C22E632088}" type="presParOf" srcId="{6016C85F-1146-4EB3-89A6-78C2A163A037}" destId="{BFEBAF61-0FA5-430C-B346-AC9479A93B5A}" srcOrd="1" destOrd="0" presId="urn:microsoft.com/office/officeart/2005/8/layout/orgChart1"/>
    <dgm:cxn modelId="{A8149426-BFEB-48EB-9DB7-4BBFEAE7C8C9}" type="presParOf" srcId="{AAE2D367-9B1C-4C51-9EB0-69D92D601C03}" destId="{52A9900E-7977-4C7D-B441-7CBB3750F873}" srcOrd="1" destOrd="0" presId="urn:microsoft.com/office/officeart/2005/8/layout/orgChart1"/>
    <dgm:cxn modelId="{5D07ECC9-ED97-4CD6-85BB-81831461647E}" type="presParOf" srcId="{52A9900E-7977-4C7D-B441-7CBB3750F873}" destId="{2E43C771-4652-45B0-8F8F-3E1BC4BA195E}" srcOrd="0" destOrd="0" presId="urn:microsoft.com/office/officeart/2005/8/layout/orgChart1"/>
    <dgm:cxn modelId="{A32E6B13-CC92-4662-A592-78806EFCCB82}" type="presParOf" srcId="{52A9900E-7977-4C7D-B441-7CBB3750F873}" destId="{4A34287B-AD8B-4055-909B-EDC95C132A07}" srcOrd="1" destOrd="0" presId="urn:microsoft.com/office/officeart/2005/8/layout/orgChart1"/>
    <dgm:cxn modelId="{DE943C15-D808-4957-BAED-D3AFE7DE9082}" type="presParOf" srcId="{4A34287B-AD8B-4055-909B-EDC95C132A07}" destId="{EBE4BC4B-E8D8-44E7-BA60-80DE6AD56089}" srcOrd="0" destOrd="0" presId="urn:microsoft.com/office/officeart/2005/8/layout/orgChart1"/>
    <dgm:cxn modelId="{EBA6748D-1A45-41B1-9B54-B11969DFC68C}" type="presParOf" srcId="{EBE4BC4B-E8D8-44E7-BA60-80DE6AD56089}" destId="{B0C541BE-6BEE-4048-A89B-0C59CE456E7F}" srcOrd="0" destOrd="0" presId="urn:microsoft.com/office/officeart/2005/8/layout/orgChart1"/>
    <dgm:cxn modelId="{9832580F-BAD9-4839-AB35-B7D9AF197ECC}" type="presParOf" srcId="{EBE4BC4B-E8D8-44E7-BA60-80DE6AD56089}" destId="{38C2765C-5D95-4FDF-8082-43B5A9041EDF}" srcOrd="1" destOrd="0" presId="urn:microsoft.com/office/officeart/2005/8/layout/orgChart1"/>
    <dgm:cxn modelId="{F2C52906-12B0-4D09-A7FD-798C74D7DA98}" type="presParOf" srcId="{4A34287B-AD8B-4055-909B-EDC95C132A07}" destId="{FD9DC15F-6F53-4CD5-BE7B-4D410F13B691}" srcOrd="1" destOrd="0" presId="urn:microsoft.com/office/officeart/2005/8/layout/orgChart1"/>
    <dgm:cxn modelId="{67B49A54-B750-4E3F-9BE3-61655F23B390}" type="presParOf" srcId="{FD9DC15F-6F53-4CD5-BE7B-4D410F13B691}" destId="{28E3B826-A2A8-45C4-A9DA-3E65E26F4265}" srcOrd="0" destOrd="0" presId="urn:microsoft.com/office/officeart/2005/8/layout/orgChart1"/>
    <dgm:cxn modelId="{15B59243-1E74-4AEE-AA1D-D262AC831A1A}" type="presParOf" srcId="{FD9DC15F-6F53-4CD5-BE7B-4D410F13B691}" destId="{050F429D-CCF7-4DDC-88C1-E30A06A10FD5}" srcOrd="1" destOrd="0" presId="urn:microsoft.com/office/officeart/2005/8/layout/orgChart1"/>
    <dgm:cxn modelId="{3D28DAFD-3FA6-435D-A8A9-9113BA9FF92A}" type="presParOf" srcId="{050F429D-CCF7-4DDC-88C1-E30A06A10FD5}" destId="{80BC2D17-1BBB-4F52-93DE-6574AE300361}" srcOrd="0" destOrd="0" presId="urn:microsoft.com/office/officeart/2005/8/layout/orgChart1"/>
    <dgm:cxn modelId="{23C4486E-FB1B-47B5-AC50-35BB9E953DE3}" type="presParOf" srcId="{80BC2D17-1BBB-4F52-93DE-6574AE300361}" destId="{E9878A1E-D429-47FA-B228-F750AB2612A0}" srcOrd="0" destOrd="0" presId="urn:microsoft.com/office/officeart/2005/8/layout/orgChart1"/>
    <dgm:cxn modelId="{9F683092-56FA-4664-A02A-F8311D983BA4}" type="presParOf" srcId="{80BC2D17-1BBB-4F52-93DE-6574AE300361}" destId="{1FC0E982-0308-45F5-B0FF-E7BB1375146E}" srcOrd="1" destOrd="0" presId="urn:microsoft.com/office/officeart/2005/8/layout/orgChart1"/>
    <dgm:cxn modelId="{D06F9EA6-C359-4932-B647-6F6A56423175}" type="presParOf" srcId="{050F429D-CCF7-4DDC-88C1-E30A06A10FD5}" destId="{0AB9CA2D-02B5-4456-96C5-552042A7436F}" srcOrd="1" destOrd="0" presId="urn:microsoft.com/office/officeart/2005/8/layout/orgChart1"/>
    <dgm:cxn modelId="{F7968177-748B-4327-B8B2-4C67077F919F}" type="presParOf" srcId="{050F429D-CCF7-4DDC-88C1-E30A06A10FD5}" destId="{02FED810-538C-428F-87E6-DC569A834D84}" srcOrd="2" destOrd="0" presId="urn:microsoft.com/office/officeart/2005/8/layout/orgChart1"/>
    <dgm:cxn modelId="{86AD7B56-A8A6-4D7A-B1F8-6819BA920903}" type="presParOf" srcId="{FD9DC15F-6F53-4CD5-BE7B-4D410F13B691}" destId="{DC82830B-14FF-4863-B129-CF7FCAA99A99}" srcOrd="2" destOrd="0" presId="urn:microsoft.com/office/officeart/2005/8/layout/orgChart1"/>
    <dgm:cxn modelId="{2FF1F6EA-D2E8-40C5-B922-46B141998859}" type="presParOf" srcId="{FD9DC15F-6F53-4CD5-BE7B-4D410F13B691}" destId="{6703AF60-B6FC-4B5D-8832-ADB04278FB78}" srcOrd="3" destOrd="0" presId="urn:microsoft.com/office/officeart/2005/8/layout/orgChart1"/>
    <dgm:cxn modelId="{864E8EC1-ACAC-49B5-986A-91001EE6C037}" type="presParOf" srcId="{6703AF60-B6FC-4B5D-8832-ADB04278FB78}" destId="{DEDBB76E-806F-4A16-A6AF-D6F1250254E5}" srcOrd="0" destOrd="0" presId="urn:microsoft.com/office/officeart/2005/8/layout/orgChart1"/>
    <dgm:cxn modelId="{53D669A9-FD3C-40A4-A6A6-7112929F3AF5}" type="presParOf" srcId="{DEDBB76E-806F-4A16-A6AF-D6F1250254E5}" destId="{12F9DEBF-D4B9-408A-941C-7863B57FE8B0}" srcOrd="0" destOrd="0" presId="urn:microsoft.com/office/officeart/2005/8/layout/orgChart1"/>
    <dgm:cxn modelId="{62E84412-9E27-4644-9FAB-C970F9C2C406}" type="presParOf" srcId="{DEDBB76E-806F-4A16-A6AF-D6F1250254E5}" destId="{68FBA7B0-ECD5-46B9-8F83-6F0CD2974606}" srcOrd="1" destOrd="0" presId="urn:microsoft.com/office/officeart/2005/8/layout/orgChart1"/>
    <dgm:cxn modelId="{64D1614E-FDD0-417C-950E-C904C8295CBE}" type="presParOf" srcId="{6703AF60-B6FC-4B5D-8832-ADB04278FB78}" destId="{726977A9-6870-4235-BE0B-3CB14574431F}" srcOrd="1" destOrd="0" presId="urn:microsoft.com/office/officeart/2005/8/layout/orgChart1"/>
    <dgm:cxn modelId="{4A3FE8F6-1CBF-49BE-8949-9888135F3A21}" type="presParOf" srcId="{6703AF60-B6FC-4B5D-8832-ADB04278FB78}" destId="{539F42A7-2908-4110-93CB-D4377DC2D30C}" srcOrd="2" destOrd="0" presId="urn:microsoft.com/office/officeart/2005/8/layout/orgChart1"/>
    <dgm:cxn modelId="{574B17FA-A4B2-4D71-8697-D943BACAE179}" type="presParOf" srcId="{FD9DC15F-6F53-4CD5-BE7B-4D410F13B691}" destId="{123568E4-B3E5-4F0D-9C01-41A36CAF428E}" srcOrd="4" destOrd="0" presId="urn:microsoft.com/office/officeart/2005/8/layout/orgChart1"/>
    <dgm:cxn modelId="{9CA8368B-A010-4BA6-9B3B-C0109522F4CB}" type="presParOf" srcId="{FD9DC15F-6F53-4CD5-BE7B-4D410F13B691}" destId="{4D1B3872-6295-4BA8-AEC4-E469ACF6983A}" srcOrd="5" destOrd="0" presId="urn:microsoft.com/office/officeart/2005/8/layout/orgChart1"/>
    <dgm:cxn modelId="{3500AC7B-8A2B-4227-95CC-B58A74391359}" type="presParOf" srcId="{4D1B3872-6295-4BA8-AEC4-E469ACF6983A}" destId="{1EF5456B-84FC-4403-B85A-36B3A3CB36C9}" srcOrd="0" destOrd="0" presId="urn:microsoft.com/office/officeart/2005/8/layout/orgChart1"/>
    <dgm:cxn modelId="{C161B96F-CAD3-41D5-A59C-3C71F7B28E93}" type="presParOf" srcId="{1EF5456B-84FC-4403-B85A-36B3A3CB36C9}" destId="{7C618862-B533-47A8-80E3-408575FF5FCC}" srcOrd="0" destOrd="0" presId="urn:microsoft.com/office/officeart/2005/8/layout/orgChart1"/>
    <dgm:cxn modelId="{21A451E4-CA43-44BE-958F-4BF71463D0D7}" type="presParOf" srcId="{1EF5456B-84FC-4403-B85A-36B3A3CB36C9}" destId="{ACC38ABB-3007-47BA-9709-CAE6E714B174}" srcOrd="1" destOrd="0" presId="urn:microsoft.com/office/officeart/2005/8/layout/orgChart1"/>
    <dgm:cxn modelId="{1834369E-7CE2-4270-B1E4-BA7BBED5A516}" type="presParOf" srcId="{4D1B3872-6295-4BA8-AEC4-E469ACF6983A}" destId="{B2AB04A5-8337-4A78-9E71-508307EAB1EF}" srcOrd="1" destOrd="0" presId="urn:microsoft.com/office/officeart/2005/8/layout/orgChart1"/>
    <dgm:cxn modelId="{052F400B-85D6-4694-86AA-01F814A2DE85}" type="presParOf" srcId="{4D1B3872-6295-4BA8-AEC4-E469ACF6983A}" destId="{063CD4AB-BC31-495C-A5BD-2A3B5D83E62E}" srcOrd="2" destOrd="0" presId="urn:microsoft.com/office/officeart/2005/8/layout/orgChart1"/>
    <dgm:cxn modelId="{A3CD6C0F-942B-4AF3-986D-6EAA4E9EA82B}" type="presParOf" srcId="{FD9DC15F-6F53-4CD5-BE7B-4D410F13B691}" destId="{DC3B600E-202C-4F18-9F58-C22458346209}" srcOrd="6" destOrd="0" presId="urn:microsoft.com/office/officeart/2005/8/layout/orgChart1"/>
    <dgm:cxn modelId="{BEC3E2FF-42D5-44E5-93B7-571250A1BB51}" type="presParOf" srcId="{FD9DC15F-6F53-4CD5-BE7B-4D410F13B691}" destId="{56697884-5DE3-4AC8-B7BD-2E3A41811A09}" srcOrd="7" destOrd="0" presId="urn:microsoft.com/office/officeart/2005/8/layout/orgChart1"/>
    <dgm:cxn modelId="{E2AD69AF-CAA5-43C4-8D78-B42C55A21F15}" type="presParOf" srcId="{56697884-5DE3-4AC8-B7BD-2E3A41811A09}" destId="{7AFFF78B-A897-48ED-8B08-F4CFCBC79D5D}" srcOrd="0" destOrd="0" presId="urn:microsoft.com/office/officeart/2005/8/layout/orgChart1"/>
    <dgm:cxn modelId="{E5698934-E465-4438-B22E-4B7BD061DB01}" type="presParOf" srcId="{7AFFF78B-A897-48ED-8B08-F4CFCBC79D5D}" destId="{ED55C31D-FA44-4C60-8D31-7C490FBD7124}" srcOrd="0" destOrd="0" presId="urn:microsoft.com/office/officeart/2005/8/layout/orgChart1"/>
    <dgm:cxn modelId="{C27D97E3-39E6-4AAE-9782-D4F837BF7EBF}" type="presParOf" srcId="{7AFFF78B-A897-48ED-8B08-F4CFCBC79D5D}" destId="{D1FEB268-4B98-4868-8E5F-937E8F5AD18C}" srcOrd="1" destOrd="0" presId="urn:microsoft.com/office/officeart/2005/8/layout/orgChart1"/>
    <dgm:cxn modelId="{1468064C-C53C-4324-B8FA-4BA04F8C4698}" type="presParOf" srcId="{56697884-5DE3-4AC8-B7BD-2E3A41811A09}" destId="{54EACE7F-79D3-4E82-925E-267D3F0BA6F0}" srcOrd="1" destOrd="0" presId="urn:microsoft.com/office/officeart/2005/8/layout/orgChart1"/>
    <dgm:cxn modelId="{2DDECE1C-E76B-495A-9928-3F5389B02731}" type="presParOf" srcId="{56697884-5DE3-4AC8-B7BD-2E3A41811A09}" destId="{2F9FDCA8-F3DF-4F00-BA22-20E0A6EA4ECE}" srcOrd="2" destOrd="0" presId="urn:microsoft.com/office/officeart/2005/8/layout/orgChart1"/>
    <dgm:cxn modelId="{6176185D-ABFD-41FE-922D-56C43268B735}" type="presParOf" srcId="{FD9DC15F-6F53-4CD5-BE7B-4D410F13B691}" destId="{064C40D6-16A7-494D-96EA-1AC110893762}" srcOrd="8" destOrd="0" presId="urn:microsoft.com/office/officeart/2005/8/layout/orgChart1"/>
    <dgm:cxn modelId="{A80636D8-2FC6-4FA6-8022-4D05C0C08DE3}" type="presParOf" srcId="{FD9DC15F-6F53-4CD5-BE7B-4D410F13B691}" destId="{6C67C787-CDBE-44BE-B62D-23EAFE841E23}" srcOrd="9" destOrd="0" presId="urn:microsoft.com/office/officeart/2005/8/layout/orgChart1"/>
    <dgm:cxn modelId="{EF6D754A-5E3A-496E-A12C-7CC7A1B6A80E}" type="presParOf" srcId="{6C67C787-CDBE-44BE-B62D-23EAFE841E23}" destId="{9045252D-C0C7-46F0-BB9D-8C01B3F76DBC}" srcOrd="0" destOrd="0" presId="urn:microsoft.com/office/officeart/2005/8/layout/orgChart1"/>
    <dgm:cxn modelId="{7135F76D-C16B-4FCE-8941-BA8F28FFFADB}" type="presParOf" srcId="{9045252D-C0C7-46F0-BB9D-8C01B3F76DBC}" destId="{2EEF7B1D-30E8-44F5-B991-783652948585}" srcOrd="0" destOrd="0" presId="urn:microsoft.com/office/officeart/2005/8/layout/orgChart1"/>
    <dgm:cxn modelId="{0D3DE087-78B4-4BEE-90F7-DF6FD357BC70}" type="presParOf" srcId="{9045252D-C0C7-46F0-BB9D-8C01B3F76DBC}" destId="{4B6D7E5B-7E4D-4F37-ADCF-3D476E787443}" srcOrd="1" destOrd="0" presId="urn:microsoft.com/office/officeart/2005/8/layout/orgChart1"/>
    <dgm:cxn modelId="{7B4D0D43-6F37-4AF4-84C9-FD878A97E340}" type="presParOf" srcId="{6C67C787-CDBE-44BE-B62D-23EAFE841E23}" destId="{6999BBE0-BCA9-4A3F-99FE-E3636F8F7F9B}" srcOrd="1" destOrd="0" presId="urn:microsoft.com/office/officeart/2005/8/layout/orgChart1"/>
    <dgm:cxn modelId="{1CF27F63-5E84-4C26-AB43-6A279149BF3B}" type="presParOf" srcId="{6C67C787-CDBE-44BE-B62D-23EAFE841E23}" destId="{C7ECFE7A-9FAC-4D6C-AEEA-5DF21A4EACEE}" srcOrd="2" destOrd="0" presId="urn:microsoft.com/office/officeart/2005/8/layout/orgChart1"/>
    <dgm:cxn modelId="{79D39B5E-38AE-4213-895D-892C603DAC52}" type="presParOf" srcId="{4A34287B-AD8B-4055-909B-EDC95C132A07}" destId="{6192AC8A-6DAE-493D-998C-E129B22742C4}" srcOrd="2" destOrd="0" presId="urn:microsoft.com/office/officeart/2005/8/layout/orgChart1"/>
    <dgm:cxn modelId="{21D48080-1A19-489F-A007-16DB8C90C62F}" type="presParOf" srcId="{52A9900E-7977-4C7D-B441-7CBB3750F873}" destId="{85A8F7D5-D448-42CB-A244-4D9D047ED72E}" srcOrd="2" destOrd="0" presId="urn:microsoft.com/office/officeart/2005/8/layout/orgChart1"/>
    <dgm:cxn modelId="{9D3C9F82-962A-4909-9B4E-C5E8C63DE99D}" type="presParOf" srcId="{52A9900E-7977-4C7D-B441-7CBB3750F873}" destId="{FB35695D-237C-448B-A3A0-40E177886A01}" srcOrd="3" destOrd="0" presId="urn:microsoft.com/office/officeart/2005/8/layout/orgChart1"/>
    <dgm:cxn modelId="{0F3E1A4D-C734-4008-8290-7049B4FA9533}" type="presParOf" srcId="{FB35695D-237C-448B-A3A0-40E177886A01}" destId="{2A585651-3174-41BF-8EC2-36E73A9AA227}" srcOrd="0" destOrd="0" presId="urn:microsoft.com/office/officeart/2005/8/layout/orgChart1"/>
    <dgm:cxn modelId="{975055E3-3BD9-4323-B39E-CC77F7163B6D}" type="presParOf" srcId="{2A585651-3174-41BF-8EC2-36E73A9AA227}" destId="{F6A75A2F-2216-4C83-B848-0525D41FD90D}" srcOrd="0" destOrd="0" presId="urn:microsoft.com/office/officeart/2005/8/layout/orgChart1"/>
    <dgm:cxn modelId="{7741701F-C151-4947-AC7E-941D46960556}" type="presParOf" srcId="{2A585651-3174-41BF-8EC2-36E73A9AA227}" destId="{B521C8EB-6F8E-401F-9C9E-BD924B3A3BD6}" srcOrd="1" destOrd="0" presId="urn:microsoft.com/office/officeart/2005/8/layout/orgChart1"/>
    <dgm:cxn modelId="{01E24234-124A-4A84-95BE-178536F1A71B}" type="presParOf" srcId="{FB35695D-237C-448B-A3A0-40E177886A01}" destId="{E03874DA-A624-4EC7-AEC3-2D8BA20700DD}" srcOrd="1" destOrd="0" presId="urn:microsoft.com/office/officeart/2005/8/layout/orgChart1"/>
    <dgm:cxn modelId="{0293CF45-7FFA-495C-9C8F-6DDB05DC05A6}" type="presParOf" srcId="{E03874DA-A624-4EC7-AEC3-2D8BA20700DD}" destId="{4B694A83-35A0-4E81-924E-274BC74DD2E8}" srcOrd="0" destOrd="0" presId="urn:microsoft.com/office/officeart/2005/8/layout/orgChart1"/>
    <dgm:cxn modelId="{8A015D4F-9102-40FE-9C38-660708AA9A13}" type="presParOf" srcId="{E03874DA-A624-4EC7-AEC3-2D8BA20700DD}" destId="{A33CA463-BAC4-4E05-88FA-BB13447FF6B9}" srcOrd="1" destOrd="0" presId="urn:microsoft.com/office/officeart/2005/8/layout/orgChart1"/>
    <dgm:cxn modelId="{9069434D-BBB5-4851-9CDD-6FE472C0C75C}" type="presParOf" srcId="{A33CA463-BAC4-4E05-88FA-BB13447FF6B9}" destId="{DC337E24-8B0E-455F-9276-29A2C0EEB3BA}" srcOrd="0" destOrd="0" presId="urn:microsoft.com/office/officeart/2005/8/layout/orgChart1"/>
    <dgm:cxn modelId="{F8AFCB3B-E8DF-4451-84BC-5C552693BBB7}" type="presParOf" srcId="{DC337E24-8B0E-455F-9276-29A2C0EEB3BA}" destId="{244C33D1-F171-4301-B277-E3A3D23B11A5}" srcOrd="0" destOrd="0" presId="urn:microsoft.com/office/officeart/2005/8/layout/orgChart1"/>
    <dgm:cxn modelId="{DC939AE6-FE0D-49B1-B156-F97AD92B72ED}" type="presParOf" srcId="{DC337E24-8B0E-455F-9276-29A2C0EEB3BA}" destId="{134F057B-3738-4AF7-9FC0-429F39B3B5B1}" srcOrd="1" destOrd="0" presId="urn:microsoft.com/office/officeart/2005/8/layout/orgChart1"/>
    <dgm:cxn modelId="{291F66B9-7C24-4D9B-952B-464813404BEC}" type="presParOf" srcId="{A33CA463-BAC4-4E05-88FA-BB13447FF6B9}" destId="{75DC45CD-5A55-4FA6-B2E0-5C6F16F6420C}" srcOrd="1" destOrd="0" presId="urn:microsoft.com/office/officeart/2005/8/layout/orgChart1"/>
    <dgm:cxn modelId="{BB7A4D58-B510-4BDA-A2DD-A2974D5FDF85}" type="presParOf" srcId="{A33CA463-BAC4-4E05-88FA-BB13447FF6B9}" destId="{F89B88A6-8566-4DDF-9764-22C8CDFE9840}" srcOrd="2" destOrd="0" presId="urn:microsoft.com/office/officeart/2005/8/layout/orgChart1"/>
    <dgm:cxn modelId="{8669300B-5030-4908-AD71-C2BDE8C8BE95}" type="presParOf" srcId="{E03874DA-A624-4EC7-AEC3-2D8BA20700DD}" destId="{450B8979-32E9-4487-A7A7-0CBE74839F7C}" srcOrd="2" destOrd="0" presId="urn:microsoft.com/office/officeart/2005/8/layout/orgChart1"/>
    <dgm:cxn modelId="{EB4AD10C-FD8B-4AF9-B373-483D37BF9EB2}" type="presParOf" srcId="{E03874DA-A624-4EC7-AEC3-2D8BA20700DD}" destId="{99A4DCD8-7A1E-4FDE-9458-0844083259EE}" srcOrd="3" destOrd="0" presId="urn:microsoft.com/office/officeart/2005/8/layout/orgChart1"/>
    <dgm:cxn modelId="{CCD2622F-FDDC-4BF4-9DA9-12B26D266517}" type="presParOf" srcId="{99A4DCD8-7A1E-4FDE-9458-0844083259EE}" destId="{3357E958-A524-499F-AD20-DD50F5A01A4F}" srcOrd="0" destOrd="0" presId="urn:microsoft.com/office/officeart/2005/8/layout/orgChart1"/>
    <dgm:cxn modelId="{07B07BF7-9261-4CB7-9676-007D3735D812}" type="presParOf" srcId="{3357E958-A524-499F-AD20-DD50F5A01A4F}" destId="{C1136C57-F48D-4C69-B106-2A8BF6A09DAC}" srcOrd="0" destOrd="0" presId="urn:microsoft.com/office/officeart/2005/8/layout/orgChart1"/>
    <dgm:cxn modelId="{E3C743FC-F378-49EC-AFF6-2155FEE915CD}" type="presParOf" srcId="{3357E958-A524-499F-AD20-DD50F5A01A4F}" destId="{BB0C576E-BFAD-434B-A4B1-2680468E6548}" srcOrd="1" destOrd="0" presId="urn:microsoft.com/office/officeart/2005/8/layout/orgChart1"/>
    <dgm:cxn modelId="{745FF1A9-58B7-4F50-BF8F-CEAAF190F20C}" type="presParOf" srcId="{99A4DCD8-7A1E-4FDE-9458-0844083259EE}" destId="{45657797-E8C2-4F2D-9DC9-654CDB4FDEE3}" srcOrd="1" destOrd="0" presId="urn:microsoft.com/office/officeart/2005/8/layout/orgChart1"/>
    <dgm:cxn modelId="{2B79C5E3-5431-4C4A-88CA-691C12E81713}" type="presParOf" srcId="{99A4DCD8-7A1E-4FDE-9458-0844083259EE}" destId="{6594AD60-3BC8-4BF0-9378-59D8BC96C359}" srcOrd="2" destOrd="0" presId="urn:microsoft.com/office/officeart/2005/8/layout/orgChart1"/>
    <dgm:cxn modelId="{62CFFB5C-461D-4C9A-A836-FA0ED7A9037A}" type="presParOf" srcId="{FB35695D-237C-448B-A3A0-40E177886A01}" destId="{A6F8EE84-C9BB-43F9-8689-AF35B744DBE7}" srcOrd="2" destOrd="0" presId="urn:microsoft.com/office/officeart/2005/8/layout/orgChart1"/>
    <dgm:cxn modelId="{9E27328A-DA2C-407C-B4F8-CC40B9BB5BB2}" type="presParOf" srcId="{52A9900E-7977-4C7D-B441-7CBB3750F873}" destId="{6C1008FB-2905-44EE-BC17-C77DB0A4DB99}" srcOrd="4" destOrd="0" presId="urn:microsoft.com/office/officeart/2005/8/layout/orgChart1"/>
    <dgm:cxn modelId="{BA17621B-FC50-42AA-BD4A-85D22819B647}" type="presParOf" srcId="{52A9900E-7977-4C7D-B441-7CBB3750F873}" destId="{E02DE50E-9888-4496-9ECB-32B228CAF81F}" srcOrd="5" destOrd="0" presId="urn:microsoft.com/office/officeart/2005/8/layout/orgChart1"/>
    <dgm:cxn modelId="{EF4B2432-9B4A-418C-932B-30F671D6AAB6}" type="presParOf" srcId="{E02DE50E-9888-4496-9ECB-32B228CAF81F}" destId="{8E2A1472-8EED-4FC1-9504-3CF56E106382}" srcOrd="0" destOrd="0" presId="urn:microsoft.com/office/officeart/2005/8/layout/orgChart1"/>
    <dgm:cxn modelId="{8A19AFBF-B7F4-42D4-92D5-C57830680BDC}" type="presParOf" srcId="{8E2A1472-8EED-4FC1-9504-3CF56E106382}" destId="{0C8B4CA2-0CC7-44BC-95AB-A1CB46BB625C}" srcOrd="0" destOrd="0" presId="urn:microsoft.com/office/officeart/2005/8/layout/orgChart1"/>
    <dgm:cxn modelId="{354EA9B2-11E4-423C-8714-F3A9412A6B0E}" type="presParOf" srcId="{8E2A1472-8EED-4FC1-9504-3CF56E106382}" destId="{7D22DDBC-1378-42AE-B080-22CE47839DA6}" srcOrd="1" destOrd="0" presId="urn:microsoft.com/office/officeart/2005/8/layout/orgChart1"/>
    <dgm:cxn modelId="{64F5B138-8AE8-417C-856A-CD4B79CFEDAF}" type="presParOf" srcId="{E02DE50E-9888-4496-9ECB-32B228CAF81F}" destId="{086AADC8-F95B-4C8C-B7E8-23561BECC470}" srcOrd="1" destOrd="0" presId="urn:microsoft.com/office/officeart/2005/8/layout/orgChart1"/>
    <dgm:cxn modelId="{3D9F45A6-C8F8-4753-9F9F-AF8DAF3340FB}" type="presParOf" srcId="{086AADC8-F95B-4C8C-B7E8-23561BECC470}" destId="{7DB2D8DE-2F2F-4D6F-8FD8-05ED0F91DB3A}" srcOrd="0" destOrd="0" presId="urn:microsoft.com/office/officeart/2005/8/layout/orgChart1"/>
    <dgm:cxn modelId="{D9A92857-B73A-483A-9EFD-A6269F663CC3}" type="presParOf" srcId="{086AADC8-F95B-4C8C-B7E8-23561BECC470}" destId="{633D97C3-E941-4125-A830-8DEB1E7FB44C}" srcOrd="1" destOrd="0" presId="urn:microsoft.com/office/officeart/2005/8/layout/orgChart1"/>
    <dgm:cxn modelId="{B69A459E-0D48-4F62-BAB5-C3B3203A4CD0}" type="presParOf" srcId="{633D97C3-E941-4125-A830-8DEB1E7FB44C}" destId="{B004D40C-3F66-4C55-87D9-DA33EE755D55}" srcOrd="0" destOrd="0" presId="urn:microsoft.com/office/officeart/2005/8/layout/orgChart1"/>
    <dgm:cxn modelId="{E0CB7D52-D58A-4AE6-BED8-0F20D101F846}" type="presParOf" srcId="{B004D40C-3F66-4C55-87D9-DA33EE755D55}" destId="{EA64A722-B324-424D-A47E-6575C08CF604}" srcOrd="0" destOrd="0" presId="urn:microsoft.com/office/officeart/2005/8/layout/orgChart1"/>
    <dgm:cxn modelId="{6118326C-12FD-4378-9FF0-4105F3679024}" type="presParOf" srcId="{B004D40C-3F66-4C55-87D9-DA33EE755D55}" destId="{CECEB8A8-CECD-474A-AA42-705BCA4C3A10}" srcOrd="1" destOrd="0" presId="urn:microsoft.com/office/officeart/2005/8/layout/orgChart1"/>
    <dgm:cxn modelId="{FF3C7437-C8A0-40E4-B7F3-39BB56020F33}" type="presParOf" srcId="{633D97C3-E941-4125-A830-8DEB1E7FB44C}" destId="{CA5D7697-C964-41A7-AF04-26F3E2DA477D}" srcOrd="1" destOrd="0" presId="urn:microsoft.com/office/officeart/2005/8/layout/orgChart1"/>
    <dgm:cxn modelId="{89E676D7-D6B9-46D5-A627-74E7675D2317}" type="presParOf" srcId="{633D97C3-E941-4125-A830-8DEB1E7FB44C}" destId="{35280EC4-D647-4B0F-BF7A-D15C8838F2EC}" srcOrd="2" destOrd="0" presId="urn:microsoft.com/office/officeart/2005/8/layout/orgChart1"/>
    <dgm:cxn modelId="{F6D11A99-F024-4D50-BF6A-64D13D3D7E7C}" type="presParOf" srcId="{086AADC8-F95B-4C8C-B7E8-23561BECC470}" destId="{A4162EED-82D2-4073-8549-FADFB663C977}" srcOrd="2" destOrd="0" presId="urn:microsoft.com/office/officeart/2005/8/layout/orgChart1"/>
    <dgm:cxn modelId="{95467FD4-004F-401D-808E-203A5D648588}" type="presParOf" srcId="{086AADC8-F95B-4C8C-B7E8-23561BECC470}" destId="{9340DB10-39CD-4243-A2B3-387D6629EE25}" srcOrd="3" destOrd="0" presId="urn:microsoft.com/office/officeart/2005/8/layout/orgChart1"/>
    <dgm:cxn modelId="{7739DFDF-498A-481A-9BDD-14C24C7FC16A}" type="presParOf" srcId="{9340DB10-39CD-4243-A2B3-387D6629EE25}" destId="{B5B2F5D6-4A9C-4371-BF2C-E7F9D3AB92BD}" srcOrd="0" destOrd="0" presId="urn:microsoft.com/office/officeart/2005/8/layout/orgChart1"/>
    <dgm:cxn modelId="{3EEB6378-5AE1-4B5E-849E-6DCB3F162E0F}" type="presParOf" srcId="{B5B2F5D6-4A9C-4371-BF2C-E7F9D3AB92BD}" destId="{E65664F7-6ECB-406B-A238-FEBCFDAAC7AA}" srcOrd="0" destOrd="0" presId="urn:microsoft.com/office/officeart/2005/8/layout/orgChart1"/>
    <dgm:cxn modelId="{7003088D-319E-4B16-800B-B6F2FCB6B4A7}" type="presParOf" srcId="{B5B2F5D6-4A9C-4371-BF2C-E7F9D3AB92BD}" destId="{F5E8CF58-4D62-4DF7-BBEA-3B9D45C70AAE}" srcOrd="1" destOrd="0" presId="urn:microsoft.com/office/officeart/2005/8/layout/orgChart1"/>
    <dgm:cxn modelId="{D71787A1-9498-491C-8766-AD10E7540117}" type="presParOf" srcId="{9340DB10-39CD-4243-A2B3-387D6629EE25}" destId="{A4050A97-4B95-4A88-8675-14E5F61C543E}" srcOrd="1" destOrd="0" presId="urn:microsoft.com/office/officeart/2005/8/layout/orgChart1"/>
    <dgm:cxn modelId="{827D9528-D901-400E-9828-26A0572F6EA6}" type="presParOf" srcId="{9340DB10-39CD-4243-A2B3-387D6629EE25}" destId="{1325BC5F-BB00-4762-99FE-A498C078FCF9}" srcOrd="2" destOrd="0" presId="urn:microsoft.com/office/officeart/2005/8/layout/orgChart1"/>
    <dgm:cxn modelId="{53A7F3AA-3BB5-414E-B9ED-06756B377960}" type="presParOf" srcId="{E02DE50E-9888-4496-9ECB-32B228CAF81F}" destId="{DE001A0D-BB8C-41F8-A4BD-A80A0419B2A1}" srcOrd="2" destOrd="0" presId="urn:microsoft.com/office/officeart/2005/8/layout/orgChart1"/>
    <dgm:cxn modelId="{426D1BEE-C6D7-4614-87B7-2C21D4C4866B}" type="presParOf" srcId="{52A9900E-7977-4C7D-B441-7CBB3750F873}" destId="{60018DAF-93C5-45D3-91B7-4E6FDB9A41B1}" srcOrd="6" destOrd="0" presId="urn:microsoft.com/office/officeart/2005/8/layout/orgChart1"/>
    <dgm:cxn modelId="{A4B22A80-5E0E-48F8-ADCE-02085BF15D31}" type="presParOf" srcId="{52A9900E-7977-4C7D-B441-7CBB3750F873}" destId="{478D8266-A832-4FD7-91E5-E50905706B14}" srcOrd="7" destOrd="0" presId="urn:microsoft.com/office/officeart/2005/8/layout/orgChart1"/>
    <dgm:cxn modelId="{FD222245-6C5F-4CE7-91A3-737A2F5A242C}" type="presParOf" srcId="{478D8266-A832-4FD7-91E5-E50905706B14}" destId="{1F03D026-7C6B-45CC-BEA3-C7908BD0A92E}" srcOrd="0" destOrd="0" presId="urn:microsoft.com/office/officeart/2005/8/layout/orgChart1"/>
    <dgm:cxn modelId="{6E7EA45C-8AC3-4FEA-84D9-A8555777B102}" type="presParOf" srcId="{1F03D026-7C6B-45CC-BEA3-C7908BD0A92E}" destId="{27D2AC9F-9D61-4219-9D49-5B1549A9970B}" srcOrd="0" destOrd="0" presId="urn:microsoft.com/office/officeart/2005/8/layout/orgChart1"/>
    <dgm:cxn modelId="{2E5DB35B-49D9-4AA3-8432-7044FE4F0DE1}" type="presParOf" srcId="{1F03D026-7C6B-45CC-BEA3-C7908BD0A92E}" destId="{0C1892CA-2347-48AD-A21E-7895607C3FBD}" srcOrd="1" destOrd="0" presId="urn:microsoft.com/office/officeart/2005/8/layout/orgChart1"/>
    <dgm:cxn modelId="{1E4ECB64-81C6-4A90-B9DB-E821CAB468DA}" type="presParOf" srcId="{478D8266-A832-4FD7-91E5-E50905706B14}" destId="{96363F6C-1574-44E8-AD2E-6A03EC963C01}" srcOrd="1" destOrd="0" presId="urn:microsoft.com/office/officeart/2005/8/layout/orgChart1"/>
    <dgm:cxn modelId="{CA8CD666-46BD-4D8D-9C6C-46F5EDC12644}" type="presParOf" srcId="{96363F6C-1574-44E8-AD2E-6A03EC963C01}" destId="{92BDE221-860B-485D-826D-C68476C4697F}" srcOrd="0" destOrd="0" presId="urn:microsoft.com/office/officeart/2005/8/layout/orgChart1"/>
    <dgm:cxn modelId="{453B2109-B4CB-4CB4-AE3B-9C25CCEEBEB1}" type="presParOf" srcId="{96363F6C-1574-44E8-AD2E-6A03EC963C01}" destId="{07317B43-A94D-4B57-A76E-496456E7B351}" srcOrd="1" destOrd="0" presId="urn:microsoft.com/office/officeart/2005/8/layout/orgChart1"/>
    <dgm:cxn modelId="{EBB6810A-B16A-40AE-AB4C-F1B131F0690A}" type="presParOf" srcId="{07317B43-A94D-4B57-A76E-496456E7B351}" destId="{54A60E86-6C17-4C31-82BA-9F6FCC0250C7}" srcOrd="0" destOrd="0" presId="urn:microsoft.com/office/officeart/2005/8/layout/orgChart1"/>
    <dgm:cxn modelId="{6E335DE0-54D9-461B-9F85-CF4E6D5F8666}" type="presParOf" srcId="{54A60E86-6C17-4C31-82BA-9F6FCC0250C7}" destId="{19685B35-BCBC-4C36-B436-31925F73ECD0}" srcOrd="0" destOrd="0" presId="urn:microsoft.com/office/officeart/2005/8/layout/orgChart1"/>
    <dgm:cxn modelId="{910B0BEC-5F3F-46B1-9B58-A184AF66B9D2}" type="presParOf" srcId="{54A60E86-6C17-4C31-82BA-9F6FCC0250C7}" destId="{990F56F4-8813-4BFA-8309-DA71D39C832E}" srcOrd="1" destOrd="0" presId="urn:microsoft.com/office/officeart/2005/8/layout/orgChart1"/>
    <dgm:cxn modelId="{07C7E4F6-D8EB-4D09-A019-07977B9AFC80}" type="presParOf" srcId="{07317B43-A94D-4B57-A76E-496456E7B351}" destId="{5BA18DDF-D875-4766-B5C6-247AE332035C}" srcOrd="1" destOrd="0" presId="urn:microsoft.com/office/officeart/2005/8/layout/orgChart1"/>
    <dgm:cxn modelId="{D5750BA7-B6AD-4306-967F-4761F99761C3}" type="presParOf" srcId="{07317B43-A94D-4B57-A76E-496456E7B351}" destId="{FBA8159E-4BDA-47DE-A5E0-2BA5B365DE30}" srcOrd="2" destOrd="0" presId="urn:microsoft.com/office/officeart/2005/8/layout/orgChart1"/>
    <dgm:cxn modelId="{A8C1025A-3348-4814-9140-A475F3DED253}" type="presParOf" srcId="{96363F6C-1574-44E8-AD2E-6A03EC963C01}" destId="{39BC1D1A-339C-406C-BCB9-FC74AFFB6DFB}" srcOrd="2" destOrd="0" presId="urn:microsoft.com/office/officeart/2005/8/layout/orgChart1"/>
    <dgm:cxn modelId="{F1A2CC3F-26D5-4423-B29E-CDDA34448896}" type="presParOf" srcId="{96363F6C-1574-44E8-AD2E-6A03EC963C01}" destId="{C8E89928-7C4B-4912-8BF9-6C6A70CB31DC}" srcOrd="3" destOrd="0" presId="urn:microsoft.com/office/officeart/2005/8/layout/orgChart1"/>
    <dgm:cxn modelId="{F78E9A72-9EE2-40C8-B67D-8412140A95FE}" type="presParOf" srcId="{C8E89928-7C4B-4912-8BF9-6C6A70CB31DC}" destId="{C33B54C9-A6D0-4F11-9DBB-6B85C8077203}" srcOrd="0" destOrd="0" presId="urn:microsoft.com/office/officeart/2005/8/layout/orgChart1"/>
    <dgm:cxn modelId="{2F176F2D-6416-4040-A05E-6468DEB0ED96}" type="presParOf" srcId="{C33B54C9-A6D0-4F11-9DBB-6B85C8077203}" destId="{39338418-6235-48F2-8CC1-E2AA03514886}" srcOrd="0" destOrd="0" presId="urn:microsoft.com/office/officeart/2005/8/layout/orgChart1"/>
    <dgm:cxn modelId="{9B097B5C-E19A-4E9B-87E6-7898D0A75757}" type="presParOf" srcId="{C33B54C9-A6D0-4F11-9DBB-6B85C8077203}" destId="{A280BB14-D0EC-42FD-A151-FC936C079BD7}" srcOrd="1" destOrd="0" presId="urn:microsoft.com/office/officeart/2005/8/layout/orgChart1"/>
    <dgm:cxn modelId="{6D5D727C-F854-4EAC-85F9-74E9D814E8A8}" type="presParOf" srcId="{C8E89928-7C4B-4912-8BF9-6C6A70CB31DC}" destId="{F1916DC8-0DE2-41E8-B38E-632675089B89}" srcOrd="1" destOrd="0" presId="urn:microsoft.com/office/officeart/2005/8/layout/orgChart1"/>
    <dgm:cxn modelId="{83F6218C-2763-446A-8B21-14A561CED391}" type="presParOf" srcId="{C8E89928-7C4B-4912-8BF9-6C6A70CB31DC}" destId="{8F9785E6-D4C8-4158-9F10-6AD033178717}" srcOrd="2" destOrd="0" presId="urn:microsoft.com/office/officeart/2005/8/layout/orgChart1"/>
    <dgm:cxn modelId="{C84B058F-615D-4383-8B87-0E644310698E}" type="presParOf" srcId="{478D8266-A832-4FD7-91E5-E50905706B14}" destId="{1853292D-C15A-4227-829A-B3B97B7CB3F7}" srcOrd="2" destOrd="0" presId="urn:microsoft.com/office/officeart/2005/8/layout/orgChart1"/>
    <dgm:cxn modelId="{9DFA5CD3-6C0A-4E7C-A53A-16367852C75D}" type="presParOf" srcId="{AAE2D367-9B1C-4C51-9EB0-69D92D601C03}" destId="{AA910AA1-CD22-4E52-A589-7A1A5789017F}"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789D24-C7FA-41DD-A7FF-710B73D5AFF2}">
      <dsp:nvSpPr>
        <dsp:cNvPr id="0" name=""/>
        <dsp:cNvSpPr/>
      </dsp:nvSpPr>
      <dsp:spPr>
        <a:xfrm>
          <a:off x="640565" y="588"/>
          <a:ext cx="1548134" cy="92888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Font typeface="+mj-lt"/>
            <a:buNone/>
          </a:pPr>
          <a:r>
            <a:rPr lang="da-DK" sz="1200" kern="1200"/>
            <a:t>Varmebehov i bygninger</a:t>
          </a:r>
          <a:endParaRPr lang="en-US" sz="1200" kern="1200"/>
        </a:p>
      </dsp:txBody>
      <dsp:txXfrm>
        <a:off x="640565" y="588"/>
        <a:ext cx="1548134" cy="928880"/>
      </dsp:txXfrm>
    </dsp:sp>
    <dsp:sp modelId="{4CB2146D-9528-4B35-8D72-56A84E4DFAE5}">
      <dsp:nvSpPr>
        <dsp:cNvPr id="0" name=""/>
        <dsp:cNvSpPr/>
      </dsp:nvSpPr>
      <dsp:spPr>
        <a:xfrm>
          <a:off x="2343513" y="588"/>
          <a:ext cx="1548134" cy="92888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a-DK" sz="1200" kern="1200"/>
            <a:t>Varmbesparelser i bygninger</a:t>
          </a:r>
          <a:endParaRPr lang="da-DK" sz="1200" kern="1200" dirty="0"/>
        </a:p>
      </dsp:txBody>
      <dsp:txXfrm>
        <a:off x="2343513" y="588"/>
        <a:ext cx="1548134" cy="928880"/>
      </dsp:txXfrm>
    </dsp:sp>
    <dsp:sp modelId="{4A07E7A8-3CC9-4A65-9423-F18AA28675D9}">
      <dsp:nvSpPr>
        <dsp:cNvPr id="0" name=""/>
        <dsp:cNvSpPr/>
      </dsp:nvSpPr>
      <dsp:spPr>
        <a:xfrm>
          <a:off x="4046461" y="588"/>
          <a:ext cx="1548134" cy="92888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a-DK" sz="1200" kern="1200" dirty="0"/>
            <a:t>Fjernvarme udvidelser</a:t>
          </a:r>
        </a:p>
      </dsp:txBody>
      <dsp:txXfrm>
        <a:off x="4046461" y="588"/>
        <a:ext cx="1548134" cy="928880"/>
      </dsp:txXfrm>
    </dsp:sp>
    <dsp:sp modelId="{08B71A3E-79D5-4440-8052-C3EA780BB7E7}">
      <dsp:nvSpPr>
        <dsp:cNvPr id="0" name=""/>
        <dsp:cNvSpPr/>
      </dsp:nvSpPr>
      <dsp:spPr>
        <a:xfrm>
          <a:off x="640565" y="1084283"/>
          <a:ext cx="1548134" cy="92888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a-DK" sz="1200" kern="1200" dirty="0"/>
            <a:t>Fjernvarme sammenkobling</a:t>
          </a:r>
        </a:p>
      </dsp:txBody>
      <dsp:txXfrm>
        <a:off x="640565" y="1084283"/>
        <a:ext cx="1548134" cy="928880"/>
      </dsp:txXfrm>
    </dsp:sp>
    <dsp:sp modelId="{58F0CF2A-6FDD-45AB-B844-BE601FDB3E28}">
      <dsp:nvSpPr>
        <dsp:cNvPr id="0" name=""/>
        <dsp:cNvSpPr/>
      </dsp:nvSpPr>
      <dsp:spPr>
        <a:xfrm>
          <a:off x="2343513" y="1084283"/>
          <a:ext cx="1548134" cy="92888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a-DK" sz="1200" kern="1200"/>
            <a:t>Overskudsvarme fra industri</a:t>
          </a:r>
          <a:endParaRPr lang="da-DK" sz="1200" kern="1200" dirty="0"/>
        </a:p>
      </dsp:txBody>
      <dsp:txXfrm>
        <a:off x="2343513" y="1084283"/>
        <a:ext cx="1548134" cy="928880"/>
      </dsp:txXfrm>
    </dsp:sp>
    <dsp:sp modelId="{58E076F5-F3F2-4923-95F8-41DD6449AAF2}">
      <dsp:nvSpPr>
        <dsp:cNvPr id="0" name=""/>
        <dsp:cNvSpPr/>
      </dsp:nvSpPr>
      <dsp:spPr>
        <a:xfrm>
          <a:off x="4046461" y="1084283"/>
          <a:ext cx="1548134" cy="92888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a-DK" sz="1200" kern="1200"/>
            <a:t>Geotermi til fjernvarme</a:t>
          </a:r>
          <a:endParaRPr lang="da-DK" sz="1200" kern="1200" dirty="0"/>
        </a:p>
      </dsp:txBody>
      <dsp:txXfrm>
        <a:off x="4046461" y="1084283"/>
        <a:ext cx="1548134" cy="928880"/>
      </dsp:txXfrm>
    </dsp:sp>
    <dsp:sp modelId="{9F383E3A-789A-4028-9BA8-4E1111F96143}">
      <dsp:nvSpPr>
        <dsp:cNvPr id="0" name=""/>
        <dsp:cNvSpPr/>
      </dsp:nvSpPr>
      <dsp:spPr>
        <a:xfrm>
          <a:off x="2343513" y="2167977"/>
          <a:ext cx="1548134" cy="92888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a-DK" sz="1200" kern="1200" dirty="0"/>
            <a:t>Grundlastkapacitet i fjernvarmeområderne</a:t>
          </a:r>
          <a:endParaRPr lang="en-GB" sz="1200" kern="1200" dirty="0"/>
        </a:p>
      </dsp:txBody>
      <dsp:txXfrm>
        <a:off x="2343513" y="2167977"/>
        <a:ext cx="1548134" cy="9288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BC1D1A-339C-406C-BCB9-FC74AFFB6DFB}">
      <dsp:nvSpPr>
        <dsp:cNvPr id="0" name=""/>
        <dsp:cNvSpPr/>
      </dsp:nvSpPr>
      <dsp:spPr>
        <a:xfrm>
          <a:off x="3660128" y="1055912"/>
          <a:ext cx="130715" cy="1019577"/>
        </a:xfrm>
        <a:custGeom>
          <a:avLst/>
          <a:gdLst/>
          <a:ahLst/>
          <a:cxnLst/>
          <a:rect l="0" t="0" r="0" b="0"/>
          <a:pathLst>
            <a:path>
              <a:moveTo>
                <a:pt x="0" y="0"/>
              </a:moveTo>
              <a:lnTo>
                <a:pt x="0" y="1019577"/>
              </a:lnTo>
              <a:lnTo>
                <a:pt x="130715" y="1019577"/>
              </a:lnTo>
            </a:path>
          </a:pathLst>
        </a:custGeom>
        <a:noFill/>
        <a:ln w="12700" cap="flat" cmpd="sng" algn="ctr">
          <a:solidFill>
            <a:schemeClr val="accent1">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2BDE221-860B-485D-826D-C68476C4697F}">
      <dsp:nvSpPr>
        <dsp:cNvPr id="0" name=""/>
        <dsp:cNvSpPr/>
      </dsp:nvSpPr>
      <dsp:spPr>
        <a:xfrm>
          <a:off x="3660128" y="1055912"/>
          <a:ext cx="130715" cy="400859"/>
        </a:xfrm>
        <a:custGeom>
          <a:avLst/>
          <a:gdLst/>
          <a:ahLst/>
          <a:cxnLst/>
          <a:rect l="0" t="0" r="0" b="0"/>
          <a:pathLst>
            <a:path>
              <a:moveTo>
                <a:pt x="0" y="0"/>
              </a:moveTo>
              <a:lnTo>
                <a:pt x="0" y="400859"/>
              </a:lnTo>
              <a:lnTo>
                <a:pt x="130715" y="400859"/>
              </a:lnTo>
            </a:path>
          </a:pathLst>
        </a:custGeom>
        <a:noFill/>
        <a:ln w="12700" cap="flat" cmpd="sng" algn="ctr">
          <a:solidFill>
            <a:schemeClr val="accent1">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0018DAF-93C5-45D3-91B7-4E6FDB9A41B1}">
      <dsp:nvSpPr>
        <dsp:cNvPr id="0" name=""/>
        <dsp:cNvSpPr/>
      </dsp:nvSpPr>
      <dsp:spPr>
        <a:xfrm>
          <a:off x="2427050" y="437195"/>
          <a:ext cx="1581651" cy="183001"/>
        </a:xfrm>
        <a:custGeom>
          <a:avLst/>
          <a:gdLst/>
          <a:ahLst/>
          <a:cxnLst/>
          <a:rect l="0" t="0" r="0" b="0"/>
          <a:pathLst>
            <a:path>
              <a:moveTo>
                <a:pt x="0" y="0"/>
              </a:moveTo>
              <a:lnTo>
                <a:pt x="0" y="91500"/>
              </a:lnTo>
              <a:lnTo>
                <a:pt x="1581651" y="91500"/>
              </a:lnTo>
              <a:lnTo>
                <a:pt x="1581651" y="183001"/>
              </a:lnTo>
            </a:path>
          </a:pathLst>
        </a:custGeom>
        <a:noFill/>
        <a:ln w="12700" cap="flat" cmpd="sng" algn="ctr">
          <a:solidFill>
            <a:schemeClr val="accent1">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4162EED-82D2-4073-8549-FADFB663C977}">
      <dsp:nvSpPr>
        <dsp:cNvPr id="0" name=""/>
        <dsp:cNvSpPr/>
      </dsp:nvSpPr>
      <dsp:spPr>
        <a:xfrm>
          <a:off x="2605694" y="1055912"/>
          <a:ext cx="130715" cy="1019577"/>
        </a:xfrm>
        <a:custGeom>
          <a:avLst/>
          <a:gdLst/>
          <a:ahLst/>
          <a:cxnLst/>
          <a:rect l="0" t="0" r="0" b="0"/>
          <a:pathLst>
            <a:path>
              <a:moveTo>
                <a:pt x="0" y="0"/>
              </a:moveTo>
              <a:lnTo>
                <a:pt x="0" y="1019577"/>
              </a:lnTo>
              <a:lnTo>
                <a:pt x="130715" y="1019577"/>
              </a:lnTo>
            </a:path>
          </a:pathLst>
        </a:custGeom>
        <a:noFill/>
        <a:ln w="12700" cap="flat" cmpd="sng" algn="ctr">
          <a:solidFill>
            <a:schemeClr val="accent1">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DB2D8DE-2F2F-4D6F-8FD8-05ED0F91DB3A}">
      <dsp:nvSpPr>
        <dsp:cNvPr id="0" name=""/>
        <dsp:cNvSpPr/>
      </dsp:nvSpPr>
      <dsp:spPr>
        <a:xfrm>
          <a:off x="2605694" y="1055912"/>
          <a:ext cx="130715" cy="400859"/>
        </a:xfrm>
        <a:custGeom>
          <a:avLst/>
          <a:gdLst/>
          <a:ahLst/>
          <a:cxnLst/>
          <a:rect l="0" t="0" r="0" b="0"/>
          <a:pathLst>
            <a:path>
              <a:moveTo>
                <a:pt x="0" y="0"/>
              </a:moveTo>
              <a:lnTo>
                <a:pt x="0" y="400859"/>
              </a:lnTo>
              <a:lnTo>
                <a:pt x="130715" y="400859"/>
              </a:lnTo>
            </a:path>
          </a:pathLst>
        </a:custGeom>
        <a:noFill/>
        <a:ln w="12700" cap="flat" cmpd="sng" algn="ctr">
          <a:solidFill>
            <a:schemeClr val="accent1">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C1008FB-2905-44EE-BC17-C77DB0A4DB99}">
      <dsp:nvSpPr>
        <dsp:cNvPr id="0" name=""/>
        <dsp:cNvSpPr/>
      </dsp:nvSpPr>
      <dsp:spPr>
        <a:xfrm>
          <a:off x="2427050" y="437195"/>
          <a:ext cx="527217" cy="183001"/>
        </a:xfrm>
        <a:custGeom>
          <a:avLst/>
          <a:gdLst/>
          <a:ahLst/>
          <a:cxnLst/>
          <a:rect l="0" t="0" r="0" b="0"/>
          <a:pathLst>
            <a:path>
              <a:moveTo>
                <a:pt x="0" y="0"/>
              </a:moveTo>
              <a:lnTo>
                <a:pt x="0" y="91500"/>
              </a:lnTo>
              <a:lnTo>
                <a:pt x="527217" y="91500"/>
              </a:lnTo>
              <a:lnTo>
                <a:pt x="527217" y="183001"/>
              </a:lnTo>
            </a:path>
          </a:pathLst>
        </a:custGeom>
        <a:noFill/>
        <a:ln w="12700" cap="flat" cmpd="sng" algn="ctr">
          <a:solidFill>
            <a:schemeClr val="accent1">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50B8979-32E9-4487-A7A7-0CBE74839F7C}">
      <dsp:nvSpPr>
        <dsp:cNvPr id="0" name=""/>
        <dsp:cNvSpPr/>
      </dsp:nvSpPr>
      <dsp:spPr>
        <a:xfrm>
          <a:off x="1551259" y="1055912"/>
          <a:ext cx="130715" cy="1019577"/>
        </a:xfrm>
        <a:custGeom>
          <a:avLst/>
          <a:gdLst/>
          <a:ahLst/>
          <a:cxnLst/>
          <a:rect l="0" t="0" r="0" b="0"/>
          <a:pathLst>
            <a:path>
              <a:moveTo>
                <a:pt x="0" y="0"/>
              </a:moveTo>
              <a:lnTo>
                <a:pt x="0" y="1019577"/>
              </a:lnTo>
              <a:lnTo>
                <a:pt x="130715" y="1019577"/>
              </a:lnTo>
            </a:path>
          </a:pathLst>
        </a:custGeom>
        <a:noFill/>
        <a:ln w="12700" cap="flat" cmpd="sng" algn="ctr">
          <a:solidFill>
            <a:schemeClr val="accent1">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B694A83-35A0-4E81-924E-274BC74DD2E8}">
      <dsp:nvSpPr>
        <dsp:cNvPr id="0" name=""/>
        <dsp:cNvSpPr/>
      </dsp:nvSpPr>
      <dsp:spPr>
        <a:xfrm>
          <a:off x="1551259" y="1055912"/>
          <a:ext cx="130715" cy="400859"/>
        </a:xfrm>
        <a:custGeom>
          <a:avLst/>
          <a:gdLst/>
          <a:ahLst/>
          <a:cxnLst/>
          <a:rect l="0" t="0" r="0" b="0"/>
          <a:pathLst>
            <a:path>
              <a:moveTo>
                <a:pt x="0" y="0"/>
              </a:moveTo>
              <a:lnTo>
                <a:pt x="0" y="400859"/>
              </a:lnTo>
              <a:lnTo>
                <a:pt x="130715" y="400859"/>
              </a:lnTo>
            </a:path>
          </a:pathLst>
        </a:custGeom>
        <a:noFill/>
        <a:ln w="12700" cap="flat" cmpd="sng" algn="ctr">
          <a:solidFill>
            <a:schemeClr val="accent1">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5A8F7D5-D448-42CB-A244-4D9D047ED72E}">
      <dsp:nvSpPr>
        <dsp:cNvPr id="0" name=""/>
        <dsp:cNvSpPr/>
      </dsp:nvSpPr>
      <dsp:spPr>
        <a:xfrm>
          <a:off x="1899833" y="437195"/>
          <a:ext cx="527217" cy="183001"/>
        </a:xfrm>
        <a:custGeom>
          <a:avLst/>
          <a:gdLst/>
          <a:ahLst/>
          <a:cxnLst/>
          <a:rect l="0" t="0" r="0" b="0"/>
          <a:pathLst>
            <a:path>
              <a:moveTo>
                <a:pt x="527217" y="0"/>
              </a:moveTo>
              <a:lnTo>
                <a:pt x="527217" y="91500"/>
              </a:lnTo>
              <a:lnTo>
                <a:pt x="0" y="91500"/>
              </a:lnTo>
              <a:lnTo>
                <a:pt x="0" y="183001"/>
              </a:lnTo>
            </a:path>
          </a:pathLst>
        </a:custGeom>
        <a:noFill/>
        <a:ln w="12700" cap="flat" cmpd="sng" algn="ctr">
          <a:solidFill>
            <a:schemeClr val="accent1">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64C40D6-16A7-494D-96EA-1AC110893762}">
      <dsp:nvSpPr>
        <dsp:cNvPr id="0" name=""/>
        <dsp:cNvSpPr/>
      </dsp:nvSpPr>
      <dsp:spPr>
        <a:xfrm>
          <a:off x="496825" y="1055912"/>
          <a:ext cx="130715" cy="2875730"/>
        </a:xfrm>
        <a:custGeom>
          <a:avLst/>
          <a:gdLst/>
          <a:ahLst/>
          <a:cxnLst/>
          <a:rect l="0" t="0" r="0" b="0"/>
          <a:pathLst>
            <a:path>
              <a:moveTo>
                <a:pt x="0" y="0"/>
              </a:moveTo>
              <a:lnTo>
                <a:pt x="0" y="2875730"/>
              </a:lnTo>
              <a:lnTo>
                <a:pt x="130715" y="2875730"/>
              </a:lnTo>
            </a:path>
          </a:pathLst>
        </a:custGeom>
        <a:noFill/>
        <a:ln w="12700" cap="flat" cmpd="sng" algn="ctr">
          <a:solidFill>
            <a:schemeClr val="accent1">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C3B600E-202C-4F18-9F58-C22458346209}">
      <dsp:nvSpPr>
        <dsp:cNvPr id="0" name=""/>
        <dsp:cNvSpPr/>
      </dsp:nvSpPr>
      <dsp:spPr>
        <a:xfrm>
          <a:off x="496825" y="1055912"/>
          <a:ext cx="130715" cy="2257012"/>
        </a:xfrm>
        <a:custGeom>
          <a:avLst/>
          <a:gdLst/>
          <a:ahLst/>
          <a:cxnLst/>
          <a:rect l="0" t="0" r="0" b="0"/>
          <a:pathLst>
            <a:path>
              <a:moveTo>
                <a:pt x="0" y="0"/>
              </a:moveTo>
              <a:lnTo>
                <a:pt x="0" y="2257012"/>
              </a:lnTo>
              <a:lnTo>
                <a:pt x="130715" y="2257012"/>
              </a:lnTo>
            </a:path>
          </a:pathLst>
        </a:custGeom>
        <a:noFill/>
        <a:ln w="12700" cap="flat" cmpd="sng" algn="ctr">
          <a:solidFill>
            <a:schemeClr val="accent1">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3568E4-B3E5-4F0D-9C01-41A36CAF428E}">
      <dsp:nvSpPr>
        <dsp:cNvPr id="0" name=""/>
        <dsp:cNvSpPr/>
      </dsp:nvSpPr>
      <dsp:spPr>
        <a:xfrm>
          <a:off x="496825" y="1055912"/>
          <a:ext cx="130715" cy="1638294"/>
        </a:xfrm>
        <a:custGeom>
          <a:avLst/>
          <a:gdLst/>
          <a:ahLst/>
          <a:cxnLst/>
          <a:rect l="0" t="0" r="0" b="0"/>
          <a:pathLst>
            <a:path>
              <a:moveTo>
                <a:pt x="0" y="0"/>
              </a:moveTo>
              <a:lnTo>
                <a:pt x="0" y="1638294"/>
              </a:lnTo>
              <a:lnTo>
                <a:pt x="130715" y="1638294"/>
              </a:lnTo>
            </a:path>
          </a:pathLst>
        </a:custGeom>
        <a:noFill/>
        <a:ln w="12700" cap="flat" cmpd="sng" algn="ctr">
          <a:solidFill>
            <a:schemeClr val="accent1">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C82830B-14FF-4863-B129-CF7FCAA99A99}">
      <dsp:nvSpPr>
        <dsp:cNvPr id="0" name=""/>
        <dsp:cNvSpPr/>
      </dsp:nvSpPr>
      <dsp:spPr>
        <a:xfrm>
          <a:off x="496825" y="1055912"/>
          <a:ext cx="130715" cy="1019577"/>
        </a:xfrm>
        <a:custGeom>
          <a:avLst/>
          <a:gdLst/>
          <a:ahLst/>
          <a:cxnLst/>
          <a:rect l="0" t="0" r="0" b="0"/>
          <a:pathLst>
            <a:path>
              <a:moveTo>
                <a:pt x="0" y="0"/>
              </a:moveTo>
              <a:lnTo>
                <a:pt x="0" y="1019577"/>
              </a:lnTo>
              <a:lnTo>
                <a:pt x="130715" y="1019577"/>
              </a:lnTo>
            </a:path>
          </a:pathLst>
        </a:custGeom>
        <a:noFill/>
        <a:ln w="12700" cap="flat" cmpd="sng" algn="ctr">
          <a:solidFill>
            <a:schemeClr val="accent1">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8E3B826-A2A8-45C4-A9DA-3E65E26F4265}">
      <dsp:nvSpPr>
        <dsp:cNvPr id="0" name=""/>
        <dsp:cNvSpPr/>
      </dsp:nvSpPr>
      <dsp:spPr>
        <a:xfrm>
          <a:off x="496825" y="1055912"/>
          <a:ext cx="130715" cy="400859"/>
        </a:xfrm>
        <a:custGeom>
          <a:avLst/>
          <a:gdLst/>
          <a:ahLst/>
          <a:cxnLst/>
          <a:rect l="0" t="0" r="0" b="0"/>
          <a:pathLst>
            <a:path>
              <a:moveTo>
                <a:pt x="0" y="0"/>
              </a:moveTo>
              <a:lnTo>
                <a:pt x="0" y="400859"/>
              </a:lnTo>
              <a:lnTo>
                <a:pt x="130715" y="400859"/>
              </a:lnTo>
            </a:path>
          </a:pathLst>
        </a:custGeom>
        <a:noFill/>
        <a:ln w="12700" cap="flat" cmpd="sng" algn="ctr">
          <a:solidFill>
            <a:schemeClr val="accent1">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E43C771-4652-45B0-8F8F-3E1BC4BA195E}">
      <dsp:nvSpPr>
        <dsp:cNvPr id="0" name=""/>
        <dsp:cNvSpPr/>
      </dsp:nvSpPr>
      <dsp:spPr>
        <a:xfrm>
          <a:off x="845398" y="437195"/>
          <a:ext cx="1581651" cy="183001"/>
        </a:xfrm>
        <a:custGeom>
          <a:avLst/>
          <a:gdLst/>
          <a:ahLst/>
          <a:cxnLst/>
          <a:rect l="0" t="0" r="0" b="0"/>
          <a:pathLst>
            <a:path>
              <a:moveTo>
                <a:pt x="1581651" y="0"/>
              </a:moveTo>
              <a:lnTo>
                <a:pt x="1581651" y="91500"/>
              </a:lnTo>
              <a:lnTo>
                <a:pt x="0" y="91500"/>
              </a:lnTo>
              <a:lnTo>
                <a:pt x="0" y="183001"/>
              </a:lnTo>
            </a:path>
          </a:pathLst>
        </a:custGeom>
        <a:noFill/>
        <a:ln w="12700" cap="flat" cmpd="sng" algn="ctr">
          <a:solidFill>
            <a:schemeClr val="accent1">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F84C4E3-EF8E-472E-8FA0-695D2E24AFB4}">
      <dsp:nvSpPr>
        <dsp:cNvPr id="0" name=""/>
        <dsp:cNvSpPr/>
      </dsp:nvSpPr>
      <dsp:spPr>
        <a:xfrm>
          <a:off x="1522785" y="1478"/>
          <a:ext cx="1808529" cy="435716"/>
        </a:xfrm>
        <a:prstGeom prst="rect">
          <a:avLst/>
        </a:prstGeom>
        <a:gradFill rotWithShape="0">
          <a:gsLst>
            <a:gs pos="0">
              <a:schemeClr val="accent1">
                <a:shade val="80000"/>
                <a:hueOff val="0"/>
                <a:satOff val="0"/>
                <a:lumOff val="0"/>
                <a:alphaOff val="0"/>
                <a:lumMod val="110000"/>
                <a:satMod val="105000"/>
                <a:tint val="67000"/>
              </a:schemeClr>
            </a:gs>
            <a:gs pos="50000">
              <a:schemeClr val="accent1">
                <a:shade val="80000"/>
                <a:hueOff val="0"/>
                <a:satOff val="0"/>
                <a:lumOff val="0"/>
                <a:alphaOff val="0"/>
                <a:lumMod val="105000"/>
                <a:satMod val="103000"/>
                <a:tint val="73000"/>
              </a:schemeClr>
            </a:gs>
            <a:gs pos="100000">
              <a:schemeClr val="accent1">
                <a:shade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GB" sz="800" kern="1200" dirty="0" err="1"/>
            <a:t>Scenariekombination</a:t>
          </a:r>
          <a:r>
            <a:rPr lang="en-GB" sz="800" kern="1200"/>
            <a:t> for </a:t>
          </a:r>
          <a:r>
            <a:rPr lang="en-GB" sz="800" kern="1200" dirty="0" err="1"/>
            <a:t>fjernvarmen</a:t>
          </a:r>
          <a:endParaRPr lang="en-GB" sz="800" kern="1200" dirty="0"/>
        </a:p>
      </dsp:txBody>
      <dsp:txXfrm>
        <a:off x="1522785" y="1478"/>
        <a:ext cx="1808529" cy="435716"/>
      </dsp:txXfrm>
    </dsp:sp>
    <dsp:sp modelId="{B0C541BE-6BEE-4048-A89B-0C59CE456E7F}">
      <dsp:nvSpPr>
        <dsp:cNvPr id="0" name=""/>
        <dsp:cNvSpPr/>
      </dsp:nvSpPr>
      <dsp:spPr>
        <a:xfrm>
          <a:off x="409682" y="620196"/>
          <a:ext cx="871433" cy="435716"/>
        </a:xfrm>
        <a:prstGeom prst="rect">
          <a:avLst/>
        </a:prstGeom>
        <a:gradFill rotWithShape="0">
          <a:gsLst>
            <a:gs pos="0">
              <a:schemeClr val="accent1">
                <a:tint val="99000"/>
                <a:hueOff val="0"/>
                <a:satOff val="0"/>
                <a:lumOff val="0"/>
                <a:alphaOff val="0"/>
                <a:lumMod val="110000"/>
                <a:satMod val="105000"/>
                <a:tint val="67000"/>
              </a:schemeClr>
            </a:gs>
            <a:gs pos="50000">
              <a:schemeClr val="accent1">
                <a:tint val="99000"/>
                <a:hueOff val="0"/>
                <a:satOff val="0"/>
                <a:lumOff val="0"/>
                <a:alphaOff val="0"/>
                <a:lumMod val="105000"/>
                <a:satMod val="103000"/>
                <a:tint val="73000"/>
              </a:schemeClr>
            </a:gs>
            <a:gs pos="100000">
              <a:schemeClr val="accent1">
                <a:tint val="99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GB" sz="800" kern="1200"/>
            <a:t>Fjernvarme udvidelsesniveau</a:t>
          </a:r>
        </a:p>
      </dsp:txBody>
      <dsp:txXfrm>
        <a:off x="409682" y="620196"/>
        <a:ext cx="871433" cy="435716"/>
      </dsp:txXfrm>
    </dsp:sp>
    <dsp:sp modelId="{E9878A1E-D429-47FA-B228-F750AB2612A0}">
      <dsp:nvSpPr>
        <dsp:cNvPr id="0" name=""/>
        <dsp:cNvSpPr/>
      </dsp:nvSpPr>
      <dsp:spPr>
        <a:xfrm>
          <a:off x="627540" y="1238913"/>
          <a:ext cx="871433" cy="435716"/>
        </a:xfrm>
        <a:prstGeom prst="rect">
          <a:avLst/>
        </a:prstGeom>
        <a:gradFill rotWithShape="0">
          <a:gsLst>
            <a:gs pos="0">
              <a:schemeClr val="accent1">
                <a:tint val="80000"/>
                <a:hueOff val="0"/>
                <a:satOff val="0"/>
                <a:lumOff val="0"/>
                <a:alphaOff val="0"/>
                <a:lumMod val="110000"/>
                <a:satMod val="105000"/>
                <a:tint val="67000"/>
              </a:schemeClr>
            </a:gs>
            <a:gs pos="50000">
              <a:schemeClr val="accent1">
                <a:tint val="80000"/>
                <a:hueOff val="0"/>
                <a:satOff val="0"/>
                <a:lumOff val="0"/>
                <a:alphaOff val="0"/>
                <a:lumMod val="105000"/>
                <a:satMod val="103000"/>
                <a:tint val="73000"/>
              </a:schemeClr>
            </a:gs>
            <a:gs pos="100000">
              <a:schemeClr val="accent1">
                <a:tint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GB" sz="800" kern="1200"/>
            <a:t>s1. Nuværende fjernvarme</a:t>
          </a:r>
        </a:p>
      </dsp:txBody>
      <dsp:txXfrm>
        <a:off x="627540" y="1238913"/>
        <a:ext cx="871433" cy="435716"/>
      </dsp:txXfrm>
    </dsp:sp>
    <dsp:sp modelId="{12F9DEBF-D4B9-408A-941C-7863B57FE8B0}">
      <dsp:nvSpPr>
        <dsp:cNvPr id="0" name=""/>
        <dsp:cNvSpPr/>
      </dsp:nvSpPr>
      <dsp:spPr>
        <a:xfrm>
          <a:off x="627540" y="1857631"/>
          <a:ext cx="871433" cy="435716"/>
        </a:xfrm>
        <a:prstGeom prst="rect">
          <a:avLst/>
        </a:prstGeom>
        <a:gradFill rotWithShape="0">
          <a:gsLst>
            <a:gs pos="0">
              <a:schemeClr val="accent1">
                <a:tint val="80000"/>
                <a:hueOff val="0"/>
                <a:satOff val="0"/>
                <a:lumOff val="0"/>
                <a:alphaOff val="0"/>
                <a:lumMod val="110000"/>
                <a:satMod val="105000"/>
                <a:tint val="67000"/>
              </a:schemeClr>
            </a:gs>
            <a:gs pos="50000">
              <a:schemeClr val="accent1">
                <a:tint val="80000"/>
                <a:hueOff val="0"/>
                <a:satOff val="0"/>
                <a:lumOff val="0"/>
                <a:alphaOff val="0"/>
                <a:lumMod val="105000"/>
                <a:satMod val="103000"/>
                <a:tint val="73000"/>
              </a:schemeClr>
            </a:gs>
            <a:gs pos="100000">
              <a:schemeClr val="accent1">
                <a:tint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GB" sz="800" kern="1200"/>
            <a:t>s2. Udvidelser områder udlagt til fjernvarme</a:t>
          </a:r>
        </a:p>
      </dsp:txBody>
      <dsp:txXfrm>
        <a:off x="627540" y="1857631"/>
        <a:ext cx="871433" cy="435716"/>
      </dsp:txXfrm>
    </dsp:sp>
    <dsp:sp modelId="{7C618862-B533-47A8-80E3-408575FF5FCC}">
      <dsp:nvSpPr>
        <dsp:cNvPr id="0" name=""/>
        <dsp:cNvSpPr/>
      </dsp:nvSpPr>
      <dsp:spPr>
        <a:xfrm>
          <a:off x="627540" y="2476349"/>
          <a:ext cx="871433" cy="435716"/>
        </a:xfrm>
        <a:prstGeom prst="rect">
          <a:avLst/>
        </a:prstGeom>
        <a:gradFill rotWithShape="0">
          <a:gsLst>
            <a:gs pos="0">
              <a:schemeClr val="accent1">
                <a:tint val="80000"/>
                <a:hueOff val="0"/>
                <a:satOff val="0"/>
                <a:lumOff val="0"/>
                <a:alphaOff val="0"/>
                <a:lumMod val="110000"/>
                <a:satMod val="105000"/>
                <a:tint val="67000"/>
              </a:schemeClr>
            </a:gs>
            <a:gs pos="50000">
              <a:schemeClr val="accent1">
                <a:tint val="80000"/>
                <a:hueOff val="0"/>
                <a:satOff val="0"/>
                <a:lumOff val="0"/>
                <a:alphaOff val="0"/>
                <a:lumMod val="105000"/>
                <a:satMod val="103000"/>
                <a:tint val="73000"/>
              </a:schemeClr>
            </a:gs>
            <a:gs pos="100000">
              <a:schemeClr val="accent1">
                <a:tint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GB" sz="800" kern="1200"/>
            <a:t>s3. Udvidelser til byområder med varmedensitet over 15 kWh/m2</a:t>
          </a:r>
        </a:p>
      </dsp:txBody>
      <dsp:txXfrm>
        <a:off x="627540" y="2476349"/>
        <a:ext cx="871433" cy="435716"/>
      </dsp:txXfrm>
    </dsp:sp>
    <dsp:sp modelId="{ED55C31D-FA44-4C60-8D31-7C490FBD7124}">
      <dsp:nvSpPr>
        <dsp:cNvPr id="0" name=""/>
        <dsp:cNvSpPr/>
      </dsp:nvSpPr>
      <dsp:spPr>
        <a:xfrm>
          <a:off x="627540" y="3095067"/>
          <a:ext cx="871433" cy="435716"/>
        </a:xfrm>
        <a:prstGeom prst="rect">
          <a:avLst/>
        </a:prstGeom>
        <a:gradFill rotWithShape="0">
          <a:gsLst>
            <a:gs pos="0">
              <a:schemeClr val="accent1">
                <a:tint val="80000"/>
                <a:hueOff val="0"/>
                <a:satOff val="0"/>
                <a:lumOff val="0"/>
                <a:alphaOff val="0"/>
                <a:lumMod val="110000"/>
                <a:satMod val="105000"/>
                <a:tint val="67000"/>
              </a:schemeClr>
            </a:gs>
            <a:gs pos="50000">
              <a:schemeClr val="accent1">
                <a:tint val="80000"/>
                <a:hueOff val="0"/>
                <a:satOff val="0"/>
                <a:lumOff val="0"/>
                <a:alphaOff val="0"/>
                <a:lumMod val="105000"/>
                <a:satMod val="103000"/>
                <a:tint val="73000"/>
              </a:schemeClr>
            </a:gs>
            <a:gs pos="100000">
              <a:schemeClr val="accent1">
                <a:tint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GB" sz="800" kern="1200" dirty="0"/>
            <a:t>s4 </a:t>
          </a:r>
          <a:r>
            <a:rPr lang="en-GB" sz="800" kern="1200" dirty="0" err="1"/>
            <a:t>Udvidelser</a:t>
          </a:r>
          <a:r>
            <a:rPr lang="en-GB" sz="800" kern="1200" dirty="0"/>
            <a:t> til </a:t>
          </a:r>
          <a:r>
            <a:rPr lang="en-GB" sz="800" kern="1200" dirty="0" err="1"/>
            <a:t>byområder</a:t>
          </a:r>
          <a:r>
            <a:rPr lang="en-GB" sz="800" kern="1200" dirty="0"/>
            <a:t> med </a:t>
          </a:r>
          <a:r>
            <a:rPr lang="en-GB" sz="800" kern="1200" dirty="0" err="1"/>
            <a:t>varmedensitet</a:t>
          </a:r>
          <a:r>
            <a:rPr lang="en-GB" sz="800" kern="1200" dirty="0"/>
            <a:t> over 10 kWh/m2</a:t>
          </a:r>
        </a:p>
      </dsp:txBody>
      <dsp:txXfrm>
        <a:off x="627540" y="3095067"/>
        <a:ext cx="871433" cy="435716"/>
      </dsp:txXfrm>
    </dsp:sp>
    <dsp:sp modelId="{2EEF7B1D-30E8-44F5-B991-783652948585}">
      <dsp:nvSpPr>
        <dsp:cNvPr id="0" name=""/>
        <dsp:cNvSpPr/>
      </dsp:nvSpPr>
      <dsp:spPr>
        <a:xfrm>
          <a:off x="627540" y="3713784"/>
          <a:ext cx="871433" cy="435716"/>
        </a:xfrm>
        <a:prstGeom prst="rect">
          <a:avLst/>
        </a:prstGeom>
        <a:gradFill rotWithShape="0">
          <a:gsLst>
            <a:gs pos="0">
              <a:schemeClr val="accent1">
                <a:tint val="80000"/>
                <a:hueOff val="0"/>
                <a:satOff val="0"/>
                <a:lumOff val="0"/>
                <a:alphaOff val="0"/>
                <a:lumMod val="110000"/>
                <a:satMod val="105000"/>
                <a:tint val="67000"/>
              </a:schemeClr>
            </a:gs>
            <a:gs pos="50000">
              <a:schemeClr val="accent1">
                <a:tint val="80000"/>
                <a:hueOff val="0"/>
                <a:satOff val="0"/>
                <a:lumOff val="0"/>
                <a:alphaOff val="0"/>
                <a:lumMod val="105000"/>
                <a:satMod val="103000"/>
                <a:tint val="73000"/>
              </a:schemeClr>
            </a:gs>
            <a:gs pos="100000">
              <a:schemeClr val="accent1">
                <a:tint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GB" sz="800" kern="1200"/>
            <a:t>s5 Udvidelser til byområder med varmedensitet over 5 kWh/m2</a:t>
          </a:r>
        </a:p>
      </dsp:txBody>
      <dsp:txXfrm>
        <a:off x="627540" y="3713784"/>
        <a:ext cx="871433" cy="435716"/>
      </dsp:txXfrm>
    </dsp:sp>
    <dsp:sp modelId="{F6A75A2F-2216-4C83-B848-0525D41FD90D}">
      <dsp:nvSpPr>
        <dsp:cNvPr id="0" name=""/>
        <dsp:cNvSpPr/>
      </dsp:nvSpPr>
      <dsp:spPr>
        <a:xfrm>
          <a:off x="1464116" y="620196"/>
          <a:ext cx="871433" cy="435716"/>
        </a:xfrm>
        <a:prstGeom prst="rect">
          <a:avLst/>
        </a:prstGeom>
        <a:gradFill rotWithShape="0">
          <a:gsLst>
            <a:gs pos="0">
              <a:schemeClr val="accent1">
                <a:tint val="99000"/>
                <a:hueOff val="0"/>
                <a:satOff val="0"/>
                <a:lumOff val="0"/>
                <a:alphaOff val="0"/>
                <a:lumMod val="110000"/>
                <a:satMod val="105000"/>
                <a:tint val="67000"/>
              </a:schemeClr>
            </a:gs>
            <a:gs pos="50000">
              <a:schemeClr val="accent1">
                <a:tint val="99000"/>
                <a:hueOff val="0"/>
                <a:satOff val="0"/>
                <a:lumOff val="0"/>
                <a:alphaOff val="0"/>
                <a:lumMod val="105000"/>
                <a:satMod val="103000"/>
                <a:tint val="73000"/>
              </a:schemeClr>
            </a:gs>
            <a:gs pos="100000">
              <a:schemeClr val="accent1">
                <a:tint val="99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GB" sz="800" kern="1200"/>
            <a:t>Fjernvarmetype</a:t>
          </a:r>
        </a:p>
      </dsp:txBody>
      <dsp:txXfrm>
        <a:off x="1464116" y="620196"/>
        <a:ext cx="871433" cy="435716"/>
      </dsp:txXfrm>
    </dsp:sp>
    <dsp:sp modelId="{244C33D1-F171-4301-B277-E3A3D23B11A5}">
      <dsp:nvSpPr>
        <dsp:cNvPr id="0" name=""/>
        <dsp:cNvSpPr/>
      </dsp:nvSpPr>
      <dsp:spPr>
        <a:xfrm>
          <a:off x="1681974" y="1238913"/>
          <a:ext cx="871433" cy="435716"/>
        </a:xfrm>
        <a:prstGeom prst="rect">
          <a:avLst/>
        </a:prstGeom>
        <a:gradFill rotWithShape="0">
          <a:gsLst>
            <a:gs pos="0">
              <a:schemeClr val="accent1">
                <a:tint val="80000"/>
                <a:hueOff val="0"/>
                <a:satOff val="0"/>
                <a:lumOff val="0"/>
                <a:alphaOff val="0"/>
                <a:lumMod val="110000"/>
                <a:satMod val="105000"/>
                <a:tint val="67000"/>
              </a:schemeClr>
            </a:gs>
            <a:gs pos="50000">
              <a:schemeClr val="accent1">
                <a:tint val="80000"/>
                <a:hueOff val="0"/>
                <a:satOff val="0"/>
                <a:lumOff val="0"/>
                <a:alphaOff val="0"/>
                <a:lumMod val="105000"/>
                <a:satMod val="103000"/>
                <a:tint val="73000"/>
              </a:schemeClr>
            </a:gs>
            <a:gs pos="100000">
              <a:schemeClr val="accent1">
                <a:tint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GB" sz="800" kern="1200"/>
            <a:t>3. generation</a:t>
          </a:r>
        </a:p>
      </dsp:txBody>
      <dsp:txXfrm>
        <a:off x="1681974" y="1238913"/>
        <a:ext cx="871433" cy="435716"/>
      </dsp:txXfrm>
    </dsp:sp>
    <dsp:sp modelId="{C1136C57-F48D-4C69-B106-2A8BF6A09DAC}">
      <dsp:nvSpPr>
        <dsp:cNvPr id="0" name=""/>
        <dsp:cNvSpPr/>
      </dsp:nvSpPr>
      <dsp:spPr>
        <a:xfrm>
          <a:off x="1681974" y="1857631"/>
          <a:ext cx="871433" cy="435716"/>
        </a:xfrm>
        <a:prstGeom prst="rect">
          <a:avLst/>
        </a:prstGeom>
        <a:gradFill rotWithShape="0">
          <a:gsLst>
            <a:gs pos="0">
              <a:schemeClr val="accent1">
                <a:tint val="80000"/>
                <a:hueOff val="0"/>
                <a:satOff val="0"/>
                <a:lumOff val="0"/>
                <a:alphaOff val="0"/>
                <a:lumMod val="110000"/>
                <a:satMod val="105000"/>
                <a:tint val="67000"/>
              </a:schemeClr>
            </a:gs>
            <a:gs pos="50000">
              <a:schemeClr val="accent1">
                <a:tint val="80000"/>
                <a:hueOff val="0"/>
                <a:satOff val="0"/>
                <a:lumOff val="0"/>
                <a:alphaOff val="0"/>
                <a:lumMod val="105000"/>
                <a:satMod val="103000"/>
                <a:tint val="73000"/>
              </a:schemeClr>
            </a:gs>
            <a:gs pos="100000">
              <a:schemeClr val="accent1">
                <a:tint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GB" sz="800" kern="1200"/>
            <a:t>4. generation</a:t>
          </a:r>
        </a:p>
      </dsp:txBody>
      <dsp:txXfrm>
        <a:off x="1681974" y="1857631"/>
        <a:ext cx="871433" cy="435716"/>
      </dsp:txXfrm>
    </dsp:sp>
    <dsp:sp modelId="{0C8B4CA2-0CC7-44BC-95AB-A1CB46BB625C}">
      <dsp:nvSpPr>
        <dsp:cNvPr id="0" name=""/>
        <dsp:cNvSpPr/>
      </dsp:nvSpPr>
      <dsp:spPr>
        <a:xfrm>
          <a:off x="2518550" y="620196"/>
          <a:ext cx="871433" cy="435716"/>
        </a:xfrm>
        <a:prstGeom prst="rect">
          <a:avLst/>
        </a:prstGeom>
        <a:gradFill rotWithShape="0">
          <a:gsLst>
            <a:gs pos="0">
              <a:schemeClr val="accent1">
                <a:tint val="99000"/>
                <a:hueOff val="0"/>
                <a:satOff val="0"/>
                <a:lumOff val="0"/>
                <a:alphaOff val="0"/>
                <a:lumMod val="110000"/>
                <a:satMod val="105000"/>
                <a:tint val="67000"/>
              </a:schemeClr>
            </a:gs>
            <a:gs pos="50000">
              <a:schemeClr val="accent1">
                <a:tint val="99000"/>
                <a:hueOff val="0"/>
                <a:satOff val="0"/>
                <a:lumOff val="0"/>
                <a:alphaOff val="0"/>
                <a:lumMod val="105000"/>
                <a:satMod val="103000"/>
                <a:tint val="73000"/>
              </a:schemeClr>
            </a:gs>
            <a:gs pos="100000">
              <a:schemeClr val="accent1">
                <a:tint val="99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GB" sz="800" kern="1200"/>
            <a:t>Sammenkobling af fjernvarme</a:t>
          </a:r>
        </a:p>
      </dsp:txBody>
      <dsp:txXfrm>
        <a:off x="2518550" y="620196"/>
        <a:ext cx="871433" cy="435716"/>
      </dsp:txXfrm>
    </dsp:sp>
    <dsp:sp modelId="{EA64A722-B324-424D-A47E-6575C08CF604}">
      <dsp:nvSpPr>
        <dsp:cNvPr id="0" name=""/>
        <dsp:cNvSpPr/>
      </dsp:nvSpPr>
      <dsp:spPr>
        <a:xfrm>
          <a:off x="2736409" y="1238913"/>
          <a:ext cx="871433" cy="435716"/>
        </a:xfrm>
        <a:prstGeom prst="rect">
          <a:avLst/>
        </a:prstGeom>
        <a:gradFill rotWithShape="0">
          <a:gsLst>
            <a:gs pos="0">
              <a:schemeClr val="accent1">
                <a:tint val="80000"/>
                <a:hueOff val="0"/>
                <a:satOff val="0"/>
                <a:lumOff val="0"/>
                <a:alphaOff val="0"/>
                <a:lumMod val="110000"/>
                <a:satMod val="105000"/>
                <a:tint val="67000"/>
              </a:schemeClr>
            </a:gs>
            <a:gs pos="50000">
              <a:schemeClr val="accent1">
                <a:tint val="80000"/>
                <a:hueOff val="0"/>
                <a:satOff val="0"/>
                <a:lumOff val="0"/>
                <a:alphaOff val="0"/>
                <a:lumMod val="105000"/>
                <a:satMod val="103000"/>
                <a:tint val="73000"/>
              </a:schemeClr>
            </a:gs>
            <a:gs pos="100000">
              <a:schemeClr val="accent1">
                <a:tint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GB" sz="800" kern="1200"/>
            <a:t>Ja</a:t>
          </a:r>
        </a:p>
      </dsp:txBody>
      <dsp:txXfrm>
        <a:off x="2736409" y="1238913"/>
        <a:ext cx="871433" cy="435716"/>
      </dsp:txXfrm>
    </dsp:sp>
    <dsp:sp modelId="{E65664F7-6ECB-406B-A238-FEBCFDAAC7AA}">
      <dsp:nvSpPr>
        <dsp:cNvPr id="0" name=""/>
        <dsp:cNvSpPr/>
      </dsp:nvSpPr>
      <dsp:spPr>
        <a:xfrm>
          <a:off x="2736409" y="1857631"/>
          <a:ext cx="871433" cy="435716"/>
        </a:xfrm>
        <a:prstGeom prst="rect">
          <a:avLst/>
        </a:prstGeom>
        <a:gradFill rotWithShape="0">
          <a:gsLst>
            <a:gs pos="0">
              <a:schemeClr val="accent1">
                <a:tint val="80000"/>
                <a:hueOff val="0"/>
                <a:satOff val="0"/>
                <a:lumOff val="0"/>
                <a:alphaOff val="0"/>
                <a:lumMod val="110000"/>
                <a:satMod val="105000"/>
                <a:tint val="67000"/>
              </a:schemeClr>
            </a:gs>
            <a:gs pos="50000">
              <a:schemeClr val="accent1">
                <a:tint val="80000"/>
                <a:hueOff val="0"/>
                <a:satOff val="0"/>
                <a:lumOff val="0"/>
                <a:alphaOff val="0"/>
                <a:lumMod val="105000"/>
                <a:satMod val="103000"/>
                <a:tint val="73000"/>
              </a:schemeClr>
            </a:gs>
            <a:gs pos="100000">
              <a:schemeClr val="accent1">
                <a:tint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GB" sz="800" kern="1200"/>
            <a:t>Nej</a:t>
          </a:r>
        </a:p>
      </dsp:txBody>
      <dsp:txXfrm>
        <a:off x="2736409" y="1857631"/>
        <a:ext cx="871433" cy="435716"/>
      </dsp:txXfrm>
    </dsp:sp>
    <dsp:sp modelId="{27D2AC9F-9D61-4219-9D49-5B1549A9970B}">
      <dsp:nvSpPr>
        <dsp:cNvPr id="0" name=""/>
        <dsp:cNvSpPr/>
      </dsp:nvSpPr>
      <dsp:spPr>
        <a:xfrm>
          <a:off x="3572985" y="620196"/>
          <a:ext cx="871433" cy="435716"/>
        </a:xfrm>
        <a:prstGeom prst="rect">
          <a:avLst/>
        </a:prstGeom>
        <a:gradFill rotWithShape="0">
          <a:gsLst>
            <a:gs pos="0">
              <a:schemeClr val="accent1">
                <a:tint val="99000"/>
                <a:hueOff val="0"/>
                <a:satOff val="0"/>
                <a:lumOff val="0"/>
                <a:alphaOff val="0"/>
                <a:lumMod val="110000"/>
                <a:satMod val="105000"/>
                <a:tint val="67000"/>
              </a:schemeClr>
            </a:gs>
            <a:gs pos="50000">
              <a:schemeClr val="accent1">
                <a:tint val="99000"/>
                <a:hueOff val="0"/>
                <a:satOff val="0"/>
                <a:lumOff val="0"/>
                <a:alphaOff val="0"/>
                <a:lumMod val="105000"/>
                <a:satMod val="103000"/>
                <a:tint val="73000"/>
              </a:schemeClr>
            </a:gs>
            <a:gs pos="100000">
              <a:schemeClr val="accent1">
                <a:tint val="99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GB" sz="800" kern="1200"/>
            <a:t>Varmebesparelser</a:t>
          </a:r>
        </a:p>
      </dsp:txBody>
      <dsp:txXfrm>
        <a:off x="3572985" y="620196"/>
        <a:ext cx="871433" cy="435716"/>
      </dsp:txXfrm>
    </dsp:sp>
    <dsp:sp modelId="{19685B35-BCBC-4C36-B436-31925F73ECD0}">
      <dsp:nvSpPr>
        <dsp:cNvPr id="0" name=""/>
        <dsp:cNvSpPr/>
      </dsp:nvSpPr>
      <dsp:spPr>
        <a:xfrm>
          <a:off x="3790843" y="1238913"/>
          <a:ext cx="871433" cy="435716"/>
        </a:xfrm>
        <a:prstGeom prst="rect">
          <a:avLst/>
        </a:prstGeom>
        <a:gradFill rotWithShape="0">
          <a:gsLst>
            <a:gs pos="0">
              <a:schemeClr val="accent1">
                <a:tint val="80000"/>
                <a:hueOff val="0"/>
                <a:satOff val="0"/>
                <a:lumOff val="0"/>
                <a:alphaOff val="0"/>
                <a:lumMod val="110000"/>
                <a:satMod val="105000"/>
                <a:tint val="67000"/>
              </a:schemeClr>
            </a:gs>
            <a:gs pos="50000">
              <a:schemeClr val="accent1">
                <a:tint val="80000"/>
                <a:hueOff val="0"/>
                <a:satOff val="0"/>
                <a:lumOff val="0"/>
                <a:alphaOff val="0"/>
                <a:lumMod val="105000"/>
                <a:satMod val="103000"/>
                <a:tint val="73000"/>
              </a:schemeClr>
            </a:gs>
            <a:gs pos="100000">
              <a:schemeClr val="accent1">
                <a:tint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GB" sz="800" kern="1200"/>
            <a:t>Ja</a:t>
          </a:r>
        </a:p>
      </dsp:txBody>
      <dsp:txXfrm>
        <a:off x="3790843" y="1238913"/>
        <a:ext cx="871433" cy="435716"/>
      </dsp:txXfrm>
    </dsp:sp>
    <dsp:sp modelId="{39338418-6235-48F2-8CC1-E2AA03514886}">
      <dsp:nvSpPr>
        <dsp:cNvPr id="0" name=""/>
        <dsp:cNvSpPr/>
      </dsp:nvSpPr>
      <dsp:spPr>
        <a:xfrm>
          <a:off x="3790843" y="1857631"/>
          <a:ext cx="871433" cy="435716"/>
        </a:xfrm>
        <a:prstGeom prst="rect">
          <a:avLst/>
        </a:prstGeom>
        <a:gradFill rotWithShape="0">
          <a:gsLst>
            <a:gs pos="0">
              <a:schemeClr val="accent1">
                <a:tint val="80000"/>
                <a:hueOff val="0"/>
                <a:satOff val="0"/>
                <a:lumOff val="0"/>
                <a:alphaOff val="0"/>
                <a:lumMod val="110000"/>
                <a:satMod val="105000"/>
                <a:tint val="67000"/>
              </a:schemeClr>
            </a:gs>
            <a:gs pos="50000">
              <a:schemeClr val="accent1">
                <a:tint val="80000"/>
                <a:hueOff val="0"/>
                <a:satOff val="0"/>
                <a:lumOff val="0"/>
                <a:alphaOff val="0"/>
                <a:lumMod val="105000"/>
                <a:satMod val="103000"/>
                <a:tint val="73000"/>
              </a:schemeClr>
            </a:gs>
            <a:gs pos="100000">
              <a:schemeClr val="accent1">
                <a:tint val="8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GB" sz="800" kern="1200"/>
            <a:t>Nej</a:t>
          </a:r>
        </a:p>
      </dsp:txBody>
      <dsp:txXfrm>
        <a:off x="3790843" y="1857631"/>
        <a:ext cx="871433" cy="435716"/>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9595</cdr:x>
      <cdr:y>0.53284</cdr:y>
    </cdr:from>
    <cdr:to>
      <cdr:x>0.33119</cdr:x>
      <cdr:y>0.61215</cdr:y>
    </cdr:to>
    <cdr:sp macro="" textlink="">
      <cdr:nvSpPr>
        <cdr:cNvPr id="2" name="Tekstboks 10"/>
        <cdr:cNvSpPr txBox="1">
          <a:spLocks xmlns:a="http://schemas.openxmlformats.org/drawingml/2006/main" noChangeArrowheads="1"/>
        </cdr:cNvSpPr>
      </cdr:nvSpPr>
      <cdr:spPr bwMode="auto">
        <a:xfrm xmlns:a="http://schemas.openxmlformats.org/drawingml/2006/main">
          <a:off x="502655" y="1318196"/>
          <a:ext cx="1232324" cy="196206"/>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txBody>
        <a:bodyPr xmlns:a="http://schemas.openxmlformats.org/drawingml/2006/main">
          <a:spAutoFit/>
        </a:bodyPr>
        <a:lstStyle xmlns:a="http://schemas.openxmlformats.org/drawingml/2006/main">
          <a:defPPr>
            <a:defRPr lang="en-GB"/>
          </a:defPPr>
          <a:lvl1pPr algn="l" rtl="0" fontAlgn="base">
            <a:spcBef>
              <a:spcPct val="0"/>
            </a:spcBef>
            <a:spcAft>
              <a:spcPct val="0"/>
            </a:spcAft>
            <a:defRPr kern="1200">
              <a:solidFill>
                <a:schemeClr val="tx1"/>
              </a:solidFill>
              <a:latin typeface="Arial" panose="020B0604020202020204" pitchFamily="34" charset="0"/>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xmlns:a="http://schemas.openxmlformats.org/drawingml/2006/main">
          <a:pPr eaLnBrk="1" hangingPunct="1"/>
          <a:r>
            <a:rPr lang="da-DK" altLang="da-DK" dirty="0">
              <a:solidFill>
                <a:srgbClr val="FF0000"/>
              </a:solidFill>
            </a:rPr>
            <a:t>Energi import</a:t>
          </a:r>
          <a:endParaRPr lang="en-GB" altLang="da-DK" dirty="0">
            <a:solidFill>
              <a:srgbClr val="FF0000"/>
            </a:solidFill>
          </a:endParaRPr>
        </a:p>
      </cdr:txBody>
    </cdr:sp>
  </cdr:relSizeAnchor>
  <cdr:relSizeAnchor xmlns:cdr="http://schemas.openxmlformats.org/drawingml/2006/chartDrawing">
    <cdr:from>
      <cdr:x>0.73196</cdr:x>
      <cdr:y>0.15281</cdr:y>
    </cdr:from>
    <cdr:to>
      <cdr:x>0.97742</cdr:x>
      <cdr:y>0.23212</cdr:y>
    </cdr:to>
    <cdr:sp macro="" textlink="">
      <cdr:nvSpPr>
        <cdr:cNvPr id="3" name="Tekstboks 11"/>
        <cdr:cNvSpPr txBox="1">
          <a:spLocks xmlns:a="http://schemas.openxmlformats.org/drawingml/2006/main" noChangeArrowheads="1"/>
        </cdr:cNvSpPr>
      </cdr:nvSpPr>
      <cdr:spPr bwMode="auto">
        <a:xfrm xmlns:a="http://schemas.openxmlformats.org/drawingml/2006/main">
          <a:off x="5112568" y="504055"/>
          <a:ext cx="1714500" cy="261610"/>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txBody>
        <a:bodyPr xmlns:a="http://schemas.openxmlformats.org/drawingml/2006/main">
          <a:spAutoFit/>
        </a:bodyPr>
        <a:lstStyle xmlns:a="http://schemas.openxmlformats.org/drawingml/2006/main">
          <a:defPPr>
            <a:defRPr lang="en-GB"/>
          </a:defPPr>
          <a:lvl1pPr algn="l" rtl="0" fontAlgn="base">
            <a:spcBef>
              <a:spcPct val="0"/>
            </a:spcBef>
            <a:spcAft>
              <a:spcPct val="0"/>
            </a:spcAft>
            <a:defRPr kern="1200">
              <a:solidFill>
                <a:schemeClr val="tx1"/>
              </a:solidFill>
              <a:latin typeface="Arial" panose="020B0604020202020204" pitchFamily="34" charset="0"/>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xmlns:a="http://schemas.openxmlformats.org/drawingml/2006/main">
          <a:pPr eaLnBrk="1" hangingPunct="1"/>
          <a:r>
            <a:rPr lang="en-GB" altLang="da-DK" dirty="0" err="1"/>
            <a:t>Energi</a:t>
          </a:r>
          <a:r>
            <a:rPr lang="en-GB" altLang="da-DK" dirty="0"/>
            <a:t> </a:t>
          </a:r>
          <a:r>
            <a:rPr lang="en-GB" altLang="da-DK" dirty="0" err="1"/>
            <a:t>eksport</a:t>
          </a:r>
          <a:endParaRPr lang="en-GB" altLang="da-DK"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78639" cy="512763"/>
          </a:xfrm>
          <a:prstGeom prst="rect">
            <a:avLst/>
          </a:prstGeom>
        </p:spPr>
        <p:txBody>
          <a:bodyPr vert="horz" lIns="91406" tIns="45703" rIns="91406" bIns="45703" rtlCol="0"/>
          <a:lstStyle>
            <a:lvl1pPr algn="l">
              <a:defRPr sz="1200"/>
            </a:lvl1pPr>
          </a:lstStyle>
          <a:p>
            <a:r>
              <a:rPr lang="sv-SE"/>
              <a:t>Brian Vad Mathiesen, Twitter @brianvad</a:t>
            </a:r>
            <a:endParaRPr lang="da-DK"/>
          </a:p>
        </p:txBody>
      </p:sp>
      <p:sp>
        <p:nvSpPr>
          <p:cNvPr id="3" name="Date Placeholder 2"/>
          <p:cNvSpPr>
            <a:spLocks noGrp="1"/>
          </p:cNvSpPr>
          <p:nvPr>
            <p:ph type="dt" sz="quarter" idx="1"/>
          </p:nvPr>
        </p:nvSpPr>
        <p:spPr>
          <a:xfrm>
            <a:off x="4023840" y="3"/>
            <a:ext cx="3078639" cy="512763"/>
          </a:xfrm>
          <a:prstGeom prst="rect">
            <a:avLst/>
          </a:prstGeom>
        </p:spPr>
        <p:txBody>
          <a:bodyPr vert="horz" lIns="91406" tIns="45703" rIns="91406" bIns="45703" rtlCol="0"/>
          <a:lstStyle>
            <a:lvl1pPr algn="r">
              <a:defRPr sz="1200"/>
            </a:lvl1pPr>
          </a:lstStyle>
          <a:p>
            <a:fld id="{77D2DD6C-B779-4DB1-89D9-6763F6B658FA}" type="datetimeFigureOut">
              <a:rPr lang="da-DK" smtClean="0"/>
              <a:t>17-05-2022</a:t>
            </a:fld>
            <a:endParaRPr lang="da-DK"/>
          </a:p>
        </p:txBody>
      </p:sp>
      <p:sp>
        <p:nvSpPr>
          <p:cNvPr id="4" name="Footer Placeholder 3"/>
          <p:cNvSpPr>
            <a:spLocks noGrp="1"/>
          </p:cNvSpPr>
          <p:nvPr>
            <p:ph type="ftr" sz="quarter" idx="2"/>
          </p:nvPr>
        </p:nvSpPr>
        <p:spPr>
          <a:xfrm>
            <a:off x="2" y="9721855"/>
            <a:ext cx="3078639" cy="512763"/>
          </a:xfrm>
          <a:prstGeom prst="rect">
            <a:avLst/>
          </a:prstGeom>
        </p:spPr>
        <p:txBody>
          <a:bodyPr vert="horz" lIns="91406" tIns="45703" rIns="91406" bIns="45703" rtlCol="0" anchor="b"/>
          <a:lstStyle>
            <a:lvl1pPr algn="l">
              <a:defRPr sz="1200"/>
            </a:lvl1pPr>
          </a:lstStyle>
          <a:p>
            <a:endParaRPr lang="da-DK"/>
          </a:p>
        </p:txBody>
      </p:sp>
      <p:sp>
        <p:nvSpPr>
          <p:cNvPr id="5" name="Slide Number Placeholder 4"/>
          <p:cNvSpPr>
            <a:spLocks noGrp="1"/>
          </p:cNvSpPr>
          <p:nvPr>
            <p:ph type="sldNum" sz="quarter" idx="3"/>
          </p:nvPr>
        </p:nvSpPr>
        <p:spPr>
          <a:xfrm>
            <a:off x="4023840" y="9721855"/>
            <a:ext cx="3078639" cy="512763"/>
          </a:xfrm>
          <a:prstGeom prst="rect">
            <a:avLst/>
          </a:prstGeom>
        </p:spPr>
        <p:txBody>
          <a:bodyPr vert="horz" lIns="91406" tIns="45703" rIns="91406" bIns="45703" rtlCol="0" anchor="b"/>
          <a:lstStyle>
            <a:lvl1pPr algn="r">
              <a:defRPr sz="1200"/>
            </a:lvl1pPr>
          </a:lstStyle>
          <a:p>
            <a:fld id="{FB568D3F-DAC8-4842-94B2-7F9659EF19C3}" type="slidenum">
              <a:rPr lang="da-DK" smtClean="0"/>
              <a:t>‹nr.›</a:t>
            </a:fld>
            <a:endParaRPr lang="da-DK"/>
          </a:p>
        </p:txBody>
      </p:sp>
    </p:spTree>
    <p:extLst>
      <p:ext uri="{BB962C8B-B14F-4D97-AF65-F5344CB8AC3E}">
        <p14:creationId xmlns:p14="http://schemas.microsoft.com/office/powerpoint/2010/main" val="3187225568"/>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6" y="5"/>
            <a:ext cx="3078427" cy="513508"/>
          </a:xfrm>
          <a:prstGeom prst="rect">
            <a:avLst/>
          </a:prstGeom>
        </p:spPr>
        <p:txBody>
          <a:bodyPr vert="horz" lIns="99010" tIns="49506" rIns="99010" bIns="49506" rtlCol="0"/>
          <a:lstStyle>
            <a:lvl1pPr algn="l">
              <a:defRPr sz="1300"/>
            </a:lvl1pPr>
          </a:lstStyle>
          <a:p>
            <a:r>
              <a:rPr lang="sv-SE"/>
              <a:t>Brian Vad Mathiesen, Twitter @brianvad</a:t>
            </a:r>
            <a:endParaRPr lang="da-DK"/>
          </a:p>
        </p:txBody>
      </p:sp>
      <p:sp>
        <p:nvSpPr>
          <p:cNvPr id="3" name="Pladsholder til dato 2"/>
          <p:cNvSpPr>
            <a:spLocks noGrp="1"/>
          </p:cNvSpPr>
          <p:nvPr>
            <p:ph type="dt" idx="1"/>
          </p:nvPr>
        </p:nvSpPr>
        <p:spPr>
          <a:xfrm>
            <a:off x="4023998" y="5"/>
            <a:ext cx="3078427" cy="513508"/>
          </a:xfrm>
          <a:prstGeom prst="rect">
            <a:avLst/>
          </a:prstGeom>
        </p:spPr>
        <p:txBody>
          <a:bodyPr vert="horz" lIns="99010" tIns="49506" rIns="99010" bIns="49506" rtlCol="0"/>
          <a:lstStyle>
            <a:lvl1pPr algn="r">
              <a:defRPr sz="1300"/>
            </a:lvl1pPr>
          </a:lstStyle>
          <a:p>
            <a:fld id="{5A4BB90C-52DC-F64B-B986-4E843D039A8F}" type="datetimeFigureOut">
              <a:rPr lang="da-DK" smtClean="0"/>
              <a:t>17-05-2022</a:t>
            </a:fld>
            <a:endParaRPr lang="da-DK"/>
          </a:p>
        </p:txBody>
      </p:sp>
      <p:sp>
        <p:nvSpPr>
          <p:cNvPr id="4" name="Pladsholder til slidebillede 3"/>
          <p:cNvSpPr>
            <a:spLocks noGrp="1" noRot="1" noChangeAspect="1"/>
          </p:cNvSpPr>
          <p:nvPr>
            <p:ph type="sldImg" idx="2"/>
          </p:nvPr>
        </p:nvSpPr>
        <p:spPr>
          <a:xfrm>
            <a:off x="481013" y="1279525"/>
            <a:ext cx="6142037" cy="3454400"/>
          </a:xfrm>
          <a:prstGeom prst="rect">
            <a:avLst/>
          </a:prstGeom>
          <a:noFill/>
          <a:ln w="12700">
            <a:solidFill>
              <a:prstClr val="black"/>
            </a:solidFill>
          </a:ln>
        </p:spPr>
        <p:txBody>
          <a:bodyPr vert="horz" lIns="99010" tIns="49506" rIns="99010" bIns="49506" rtlCol="0" anchor="ctr"/>
          <a:lstStyle/>
          <a:p>
            <a:endParaRPr lang="da-DK"/>
          </a:p>
        </p:txBody>
      </p:sp>
      <p:sp>
        <p:nvSpPr>
          <p:cNvPr id="5" name="Pladsholder til noter 4"/>
          <p:cNvSpPr>
            <a:spLocks noGrp="1"/>
          </p:cNvSpPr>
          <p:nvPr>
            <p:ph type="body" sz="quarter" idx="3"/>
          </p:nvPr>
        </p:nvSpPr>
        <p:spPr>
          <a:xfrm>
            <a:off x="710407" y="4925415"/>
            <a:ext cx="5683250" cy="4029879"/>
          </a:xfrm>
          <a:prstGeom prst="rect">
            <a:avLst/>
          </a:prstGeom>
        </p:spPr>
        <p:txBody>
          <a:bodyPr vert="horz" lIns="99010" tIns="49506" rIns="99010" bIns="49506"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6" y="9721112"/>
            <a:ext cx="3078427" cy="513507"/>
          </a:xfrm>
          <a:prstGeom prst="rect">
            <a:avLst/>
          </a:prstGeom>
        </p:spPr>
        <p:txBody>
          <a:bodyPr vert="horz" lIns="99010" tIns="49506" rIns="99010" bIns="49506" rtlCol="0" anchor="b"/>
          <a:lstStyle>
            <a:lvl1pPr algn="l">
              <a:defRPr sz="1300"/>
            </a:lvl1pPr>
          </a:lstStyle>
          <a:p>
            <a:endParaRPr lang="da-DK"/>
          </a:p>
        </p:txBody>
      </p:sp>
      <p:sp>
        <p:nvSpPr>
          <p:cNvPr id="7" name="Pladsholder til slidenummer 6"/>
          <p:cNvSpPr>
            <a:spLocks noGrp="1"/>
          </p:cNvSpPr>
          <p:nvPr>
            <p:ph type="sldNum" sz="quarter" idx="5"/>
          </p:nvPr>
        </p:nvSpPr>
        <p:spPr>
          <a:xfrm>
            <a:off x="4023998" y="9721112"/>
            <a:ext cx="3078427" cy="513507"/>
          </a:xfrm>
          <a:prstGeom prst="rect">
            <a:avLst/>
          </a:prstGeom>
        </p:spPr>
        <p:txBody>
          <a:bodyPr vert="horz" lIns="99010" tIns="49506" rIns="99010" bIns="49506" rtlCol="0" anchor="b"/>
          <a:lstStyle>
            <a:lvl1pPr algn="r">
              <a:defRPr sz="1300"/>
            </a:lvl1pPr>
          </a:lstStyle>
          <a:p>
            <a:fld id="{E59C6D91-6117-CB4B-BB5C-47F76394829A}" type="slidenum">
              <a:rPr lang="da-DK" smtClean="0"/>
              <a:t>‹nr.›</a:t>
            </a:fld>
            <a:endParaRPr lang="da-DK"/>
          </a:p>
        </p:txBody>
      </p:sp>
    </p:spTree>
    <p:extLst>
      <p:ext uri="{BB962C8B-B14F-4D97-AF65-F5344CB8AC3E}">
        <p14:creationId xmlns:p14="http://schemas.microsoft.com/office/powerpoint/2010/main" val="1894301750"/>
      </p:ext>
    </p:extLst>
  </p:cSld>
  <p:clrMap bg1="lt1" tx1="dk1" bg2="lt2" tx2="dk2" accent1="accent1" accent2="accent2" accent3="accent3" accent4="accent4" accent5="accent5" accent6="accent6" hlink="hlink" folHlink="folHlink"/>
  <p:hf ftr="0" dt="0"/>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From a </a:t>
            </a:r>
            <a:r>
              <a:rPr lang="da-DK" dirty="0" err="1"/>
              <a:t>group</a:t>
            </a:r>
            <a:r>
              <a:rPr lang="da-DK" dirty="0"/>
              <a:t> with 28 </a:t>
            </a:r>
            <a:r>
              <a:rPr lang="da-DK" dirty="0" err="1"/>
              <a:t>members</a:t>
            </a:r>
            <a:r>
              <a:rPr lang="da-DK" dirty="0"/>
              <a:t>.</a:t>
            </a:r>
            <a:r>
              <a:rPr lang="da-DK" baseline="0" dirty="0"/>
              <a:t> I </a:t>
            </a:r>
            <a:r>
              <a:rPr lang="da-DK" baseline="0" dirty="0" err="1"/>
              <a:t>coordinate</a:t>
            </a:r>
            <a:r>
              <a:rPr lang="da-DK" baseline="0" dirty="0"/>
              <a:t> research. </a:t>
            </a:r>
            <a:r>
              <a:rPr lang="da-DK" baseline="0" dirty="0" err="1"/>
              <a:t>Many</a:t>
            </a:r>
            <a:r>
              <a:rPr lang="da-DK" baseline="0" dirty="0"/>
              <a:t> </a:t>
            </a:r>
            <a:r>
              <a:rPr lang="da-DK" baseline="0" dirty="0" err="1"/>
              <a:t>areas</a:t>
            </a:r>
            <a:r>
              <a:rPr lang="da-DK" baseline="0" dirty="0"/>
              <a:t>. </a:t>
            </a:r>
            <a:r>
              <a:rPr lang="da-DK" baseline="0" dirty="0" err="1"/>
              <a:t>Other</a:t>
            </a:r>
            <a:r>
              <a:rPr lang="da-DK" baseline="0" dirty="0"/>
              <a:t> </a:t>
            </a:r>
            <a:r>
              <a:rPr lang="da-DK" baseline="0" dirty="0" err="1"/>
              <a:t>pople</a:t>
            </a:r>
            <a:r>
              <a:rPr lang="da-DK" baseline="0" dirty="0"/>
              <a:t> </a:t>
            </a:r>
            <a:r>
              <a:rPr lang="da-DK" baseline="0" dirty="0" err="1"/>
              <a:t>than</a:t>
            </a:r>
            <a:r>
              <a:rPr lang="da-DK" baseline="0" dirty="0"/>
              <a:t> </a:t>
            </a:r>
            <a:r>
              <a:rPr lang="da-DK" baseline="0" dirty="0" err="1"/>
              <a:t>Engineers</a:t>
            </a:r>
            <a:r>
              <a:rPr lang="da-DK" baseline="0" dirty="0"/>
              <a:t>..</a:t>
            </a:r>
            <a:endParaRPr lang="da-DK" dirty="0"/>
          </a:p>
        </p:txBody>
      </p:sp>
      <p:sp>
        <p:nvSpPr>
          <p:cNvPr id="4" name="Pladsholder til slidenummer 3"/>
          <p:cNvSpPr>
            <a:spLocks noGrp="1"/>
          </p:cNvSpPr>
          <p:nvPr>
            <p:ph type="sldNum" sz="quarter" idx="10"/>
          </p:nvPr>
        </p:nvSpPr>
        <p:spPr/>
        <p:txBody>
          <a:bodyPr/>
          <a:lstStyle/>
          <a:p>
            <a:fld id="{E59C6D91-6117-CB4B-BB5C-47F76394829A}" type="slidenum">
              <a:rPr lang="da-DK" smtClean="0"/>
              <a:t>1</a:t>
            </a:fld>
            <a:endParaRPr lang="da-DK"/>
          </a:p>
        </p:txBody>
      </p:sp>
      <p:sp>
        <p:nvSpPr>
          <p:cNvPr id="5" name="Pladsholder til sidehoved 4"/>
          <p:cNvSpPr>
            <a:spLocks noGrp="1"/>
          </p:cNvSpPr>
          <p:nvPr>
            <p:ph type="hdr" sz="quarter" idx="11"/>
          </p:nvPr>
        </p:nvSpPr>
        <p:spPr/>
        <p:txBody>
          <a:bodyPr/>
          <a:lstStyle/>
          <a:p>
            <a:r>
              <a:rPr lang="sv-SE"/>
              <a:t>Brian Vad Mathiesen, Twitter @brianvad</a:t>
            </a:r>
            <a:endParaRPr lang="da-DK"/>
          </a:p>
        </p:txBody>
      </p:sp>
    </p:spTree>
    <p:extLst>
      <p:ext uri="{BB962C8B-B14F-4D97-AF65-F5344CB8AC3E}">
        <p14:creationId xmlns:p14="http://schemas.microsoft.com/office/powerpoint/2010/main" val="3138450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Four 100% renewable scenarios with different combinations of BAT and innovative energy efficiency measures, material efficiency and fuel replacement</a:t>
            </a:r>
          </a:p>
          <a:p>
            <a:r>
              <a:rPr lang="da-DK"/>
              <a:t>Gas</a:t>
            </a:r>
            <a:r>
              <a:rPr lang="da-DK" baseline="0"/>
              <a:t> </a:t>
            </a:r>
            <a:r>
              <a:rPr lang="da-DK" baseline="0" err="1"/>
              <a:t>grid</a:t>
            </a:r>
            <a:r>
              <a:rPr lang="da-DK" baseline="0"/>
              <a:t> sufficient </a:t>
            </a:r>
            <a:r>
              <a:rPr lang="da-DK" baseline="0" err="1"/>
              <a:t>since</a:t>
            </a:r>
            <a:r>
              <a:rPr lang="da-DK" baseline="0"/>
              <a:t> </a:t>
            </a:r>
            <a:r>
              <a:rPr lang="da-DK" baseline="0" err="1"/>
              <a:t>we</a:t>
            </a:r>
            <a:r>
              <a:rPr lang="da-DK" baseline="0"/>
              <a:t> </a:t>
            </a:r>
            <a:r>
              <a:rPr lang="da-DK" baseline="0" err="1"/>
              <a:t>are</a:t>
            </a:r>
            <a:r>
              <a:rPr lang="da-DK" baseline="0"/>
              <a:t> </a:t>
            </a:r>
            <a:r>
              <a:rPr lang="da-DK" baseline="0" err="1"/>
              <a:t>reducing</a:t>
            </a:r>
            <a:r>
              <a:rPr lang="da-DK" baseline="0"/>
              <a:t> gas for heating and for </a:t>
            </a:r>
            <a:r>
              <a:rPr lang="da-DK" baseline="0" err="1"/>
              <a:t>industry</a:t>
            </a:r>
            <a:r>
              <a:rPr lang="da-DK" baseline="0"/>
              <a:t> and new biogases </a:t>
            </a:r>
            <a:r>
              <a:rPr lang="da-DK" baseline="0" err="1"/>
              <a:t>can</a:t>
            </a:r>
            <a:r>
              <a:rPr lang="da-DK" baseline="0"/>
              <a:t> </a:t>
            </a:r>
            <a:r>
              <a:rPr lang="da-DK" baseline="0" err="1"/>
              <a:t>use</a:t>
            </a:r>
            <a:r>
              <a:rPr lang="da-DK" baseline="0"/>
              <a:t> </a:t>
            </a:r>
            <a:r>
              <a:rPr lang="da-DK" baseline="0" err="1"/>
              <a:t>current</a:t>
            </a:r>
            <a:r>
              <a:rPr lang="da-DK" baseline="0"/>
              <a:t> </a:t>
            </a:r>
            <a:r>
              <a:rPr lang="da-DK" baseline="0" err="1"/>
              <a:t>grid</a:t>
            </a:r>
            <a:r>
              <a:rPr lang="da-DK" baseline="0"/>
              <a:t> </a:t>
            </a:r>
            <a:r>
              <a:rPr lang="da-DK" baseline="0" err="1"/>
              <a:t>infrastrucutre</a:t>
            </a:r>
            <a:r>
              <a:rPr lang="da-DK" baseline="0"/>
              <a:t> and </a:t>
            </a:r>
          </a:p>
          <a:p>
            <a:pPr lvl="1">
              <a:buFont typeface="Wingdings" panose="05000000000000000000" pitchFamily="2" charset="2"/>
              <a:buChar char="v"/>
            </a:pPr>
            <a:r>
              <a:rPr lang="en-US"/>
              <a:t>Biofuels</a:t>
            </a:r>
          </a:p>
          <a:p>
            <a:pPr lvl="1">
              <a:buFont typeface="Wingdings" panose="05000000000000000000" pitchFamily="2" charset="2"/>
              <a:buChar char="v"/>
            </a:pPr>
            <a:r>
              <a:rPr lang="en-US"/>
              <a:t>Hydrogen</a:t>
            </a:r>
          </a:p>
          <a:p>
            <a:pPr lvl="1">
              <a:buFont typeface="Wingdings" panose="05000000000000000000" pitchFamily="2" charset="2"/>
              <a:buChar char="v"/>
            </a:pPr>
            <a:r>
              <a:rPr lang="en-US"/>
              <a:t>Electrification &amp; e-fuels</a:t>
            </a:r>
          </a:p>
          <a:p>
            <a:pPr lvl="1">
              <a:buFont typeface="Wingdings" panose="05000000000000000000" pitchFamily="2" charset="2"/>
              <a:buChar char="v"/>
            </a:pPr>
            <a:r>
              <a:rPr lang="en-US"/>
              <a:t>Electrification+</a:t>
            </a:r>
          </a:p>
          <a:p>
            <a:pPr lvl="1">
              <a:buFont typeface="Wingdings" panose="05000000000000000000" pitchFamily="2" charset="2"/>
              <a:buChar char="v"/>
            </a:pPr>
            <a:r>
              <a:rPr lang="en-US"/>
              <a:t>Low energy efficiency</a:t>
            </a:r>
          </a:p>
          <a:p>
            <a:pPr lvl="1">
              <a:buFont typeface="Wingdings" panose="05000000000000000000" pitchFamily="2" charset="2"/>
              <a:buChar char="v"/>
            </a:pPr>
            <a:r>
              <a:rPr lang="en-US"/>
              <a:t>High energy efficiency</a:t>
            </a:r>
          </a:p>
          <a:p>
            <a:pPr lvl="1">
              <a:buFont typeface="Wingdings" panose="05000000000000000000" pitchFamily="2" charset="2"/>
              <a:buChar char="v"/>
            </a:pPr>
            <a:r>
              <a:rPr lang="en-US"/>
              <a:t>High energy efficiency plus electrification</a:t>
            </a:r>
          </a:p>
          <a:p>
            <a:pPr lvl="1">
              <a:buFont typeface="Wingdings" panose="05000000000000000000" pitchFamily="2" charset="2"/>
              <a:buChar char="v"/>
            </a:pPr>
            <a:r>
              <a:rPr lang="en-US"/>
              <a:t>High energy efficiency plus electrification/hydrogen</a:t>
            </a:r>
          </a:p>
          <a:p>
            <a:pPr lvl="1">
              <a:buFont typeface="Wingdings" panose="05000000000000000000" pitchFamily="2" charset="2"/>
              <a:buChar char="v"/>
            </a:pPr>
            <a:r>
              <a:rPr lang="en-US"/>
              <a:t>Baseline building refurbishment (PRIMES 2050 Baseline </a:t>
            </a:r>
            <a:r>
              <a:rPr lang="da-DK"/>
              <a:t>≈ 20</a:t>
            </a:r>
            <a:r>
              <a:rPr lang="en-US"/>
              <a:t>% reduction from 2015)</a:t>
            </a:r>
          </a:p>
          <a:p>
            <a:pPr lvl="1">
              <a:buFont typeface="Wingdings" panose="05000000000000000000" pitchFamily="2" charset="2"/>
              <a:buChar char="v"/>
            </a:pPr>
            <a:r>
              <a:rPr lang="en-US"/>
              <a:t>Baseline +20% additional savings</a:t>
            </a:r>
          </a:p>
          <a:p>
            <a:pPr lvl="1">
              <a:buFont typeface="Wingdings" panose="05000000000000000000" pitchFamily="2" charset="2"/>
              <a:buChar char="v"/>
            </a:pPr>
            <a:r>
              <a:rPr lang="en-US"/>
              <a:t>Baseline +30% additional savings equivalent to PRIMES 1.5TECH </a:t>
            </a:r>
          </a:p>
          <a:p>
            <a:pPr lvl="1">
              <a:buFont typeface="Wingdings" panose="05000000000000000000" pitchFamily="2" charset="2"/>
              <a:buChar char="v"/>
            </a:pPr>
            <a:endParaRPr lang="en-US"/>
          </a:p>
          <a:p>
            <a:endParaRPr lang="da-DK"/>
          </a:p>
        </p:txBody>
      </p:sp>
      <p:sp>
        <p:nvSpPr>
          <p:cNvPr id="4" name="Slide Number Placeholder 3"/>
          <p:cNvSpPr>
            <a:spLocks noGrp="1"/>
          </p:cNvSpPr>
          <p:nvPr>
            <p:ph type="sldNum" sz="quarter" idx="10"/>
          </p:nvPr>
        </p:nvSpPr>
        <p:spPr/>
        <p:txBody>
          <a:bodyPr/>
          <a:lstStyle/>
          <a:p>
            <a:fld id="{8C896355-3DDC-9949-861F-AD0908BFCC23}" type="slidenum">
              <a:rPr lang="en-US" smtClean="0"/>
              <a:t>34</a:t>
            </a:fld>
            <a:endParaRPr lang="en-US"/>
          </a:p>
        </p:txBody>
      </p:sp>
    </p:spTree>
    <p:extLst>
      <p:ext uri="{BB962C8B-B14F-4D97-AF65-F5344CB8AC3E}">
        <p14:creationId xmlns:p14="http://schemas.microsoft.com/office/powerpoint/2010/main" val="13808245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r>
              <a:rPr lang="en-US" sz="1200" b="1" dirty="0"/>
              <a:t>Novelty</a:t>
            </a:r>
          </a:p>
          <a:p>
            <a:pPr marL="285750" indent="-285750">
              <a:buFont typeface="Wingdings" panose="05000000000000000000" pitchFamily="2" charset="2"/>
              <a:buChar char="Ø"/>
            </a:pPr>
            <a:r>
              <a:rPr lang="en-US" sz="1200" dirty="0"/>
              <a:t>Assess the impact of EE on sectoral and energy system level. </a:t>
            </a:r>
          </a:p>
          <a:p>
            <a:pPr marL="285750" indent="-285750">
              <a:buFont typeface="Wingdings" panose="05000000000000000000" pitchFamily="2" charset="2"/>
              <a:buChar char="Ø"/>
            </a:pPr>
            <a:r>
              <a:rPr lang="en-US" sz="1200" dirty="0"/>
              <a:t>Quantify the synergies of EE and renewable energy systems.</a:t>
            </a:r>
            <a:endParaRPr lang="nl-NL" sz="1200" dirty="0"/>
          </a:p>
          <a:p>
            <a:endParaRPr lang="da-DK" dirty="0"/>
          </a:p>
        </p:txBody>
      </p:sp>
      <p:sp>
        <p:nvSpPr>
          <p:cNvPr id="4" name="Slide Number Placeholder 3"/>
          <p:cNvSpPr>
            <a:spLocks noGrp="1"/>
          </p:cNvSpPr>
          <p:nvPr>
            <p:ph type="sldNum" sz="quarter" idx="10"/>
          </p:nvPr>
        </p:nvSpPr>
        <p:spPr/>
        <p:txBody>
          <a:bodyPr/>
          <a:lstStyle/>
          <a:p>
            <a:fld id="{8C896355-3DDC-9949-861F-AD0908BFCC23}" type="slidenum">
              <a:rPr lang="en-US" smtClean="0"/>
              <a:t>35</a:t>
            </a:fld>
            <a:endParaRPr lang="en-US"/>
          </a:p>
        </p:txBody>
      </p:sp>
    </p:spTree>
    <p:extLst>
      <p:ext uri="{BB962C8B-B14F-4D97-AF65-F5344CB8AC3E}">
        <p14:creationId xmlns:p14="http://schemas.microsoft.com/office/powerpoint/2010/main" val="14157009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fficult</a:t>
            </a:r>
            <a:r>
              <a:rPr lang="en-US" baseline="0" dirty="0"/>
              <a:t> using available data but estimated costs for 1.5TECH and baseline</a:t>
            </a:r>
          </a:p>
          <a:p>
            <a:endParaRPr lang="en-US" baseline="0" dirty="0"/>
          </a:p>
          <a:p>
            <a:r>
              <a:rPr lang="en-US" baseline="0" dirty="0"/>
              <a:t>714 vs 1038 billion per year = 30% less vehicles costs</a:t>
            </a:r>
            <a:endParaRPr lang="da-DK" dirty="0"/>
          </a:p>
        </p:txBody>
      </p:sp>
      <p:sp>
        <p:nvSpPr>
          <p:cNvPr id="4" name="Slide Number Placeholder 3"/>
          <p:cNvSpPr>
            <a:spLocks noGrp="1"/>
          </p:cNvSpPr>
          <p:nvPr>
            <p:ph type="sldNum" sz="quarter" idx="10"/>
          </p:nvPr>
        </p:nvSpPr>
        <p:spPr/>
        <p:txBody>
          <a:bodyPr/>
          <a:lstStyle/>
          <a:p>
            <a:fld id="{8C896355-3DDC-9949-861F-AD0908BFCC23}" type="slidenum">
              <a:rPr lang="en-US" smtClean="0"/>
              <a:t>36</a:t>
            </a:fld>
            <a:endParaRPr lang="en-US"/>
          </a:p>
        </p:txBody>
      </p:sp>
    </p:spTree>
    <p:extLst>
      <p:ext uri="{BB962C8B-B14F-4D97-AF65-F5344CB8AC3E}">
        <p14:creationId xmlns:p14="http://schemas.microsoft.com/office/powerpoint/2010/main" val="27267710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50% </a:t>
            </a:r>
            <a:r>
              <a:rPr lang="da-DK" dirty="0" err="1"/>
              <a:t>dh</a:t>
            </a:r>
            <a:r>
              <a:rPr lang="da-DK" dirty="0"/>
              <a:t> and</a:t>
            </a:r>
            <a:r>
              <a:rPr lang="da-DK" baseline="0" dirty="0"/>
              <a:t> 50% private </a:t>
            </a:r>
            <a:r>
              <a:rPr lang="da-DK" baseline="0" dirty="0" err="1"/>
              <a:t>which</a:t>
            </a:r>
            <a:r>
              <a:rPr lang="da-DK" baseline="0" dirty="0"/>
              <a:t> is 45% HP and 5% </a:t>
            </a:r>
            <a:r>
              <a:rPr lang="da-DK" baseline="0" dirty="0" err="1"/>
              <a:t>biomass</a:t>
            </a:r>
            <a:r>
              <a:rPr lang="da-DK" baseline="0" dirty="0"/>
              <a:t> </a:t>
            </a:r>
            <a:r>
              <a:rPr lang="da-DK" baseline="0" dirty="0" err="1"/>
              <a:t>boiler</a:t>
            </a:r>
            <a:r>
              <a:rPr lang="da-DK" baseline="0" dirty="0"/>
              <a:t>/</a:t>
            </a:r>
            <a:r>
              <a:rPr lang="da-DK" baseline="0" dirty="0" err="1"/>
              <a:t>electric</a:t>
            </a:r>
            <a:r>
              <a:rPr lang="da-DK" baseline="0" dirty="0"/>
              <a:t> heat</a:t>
            </a:r>
          </a:p>
          <a:p>
            <a:endParaRPr lang="da-DK" baseline="0" dirty="0"/>
          </a:p>
          <a:p>
            <a:r>
              <a:rPr lang="da-DK" baseline="0" dirty="0" err="1"/>
              <a:t>We</a:t>
            </a:r>
            <a:r>
              <a:rPr lang="da-DK" baseline="0" dirty="0"/>
              <a:t> </a:t>
            </a:r>
            <a:r>
              <a:rPr lang="da-DK" baseline="0" dirty="0" err="1"/>
              <a:t>cant</a:t>
            </a:r>
            <a:r>
              <a:rPr lang="da-DK" baseline="0" dirty="0"/>
              <a:t> go to 50/50 but reality is </a:t>
            </a:r>
            <a:r>
              <a:rPr lang="da-DK" baseline="0" dirty="0" err="1"/>
              <a:t>we</a:t>
            </a:r>
            <a:r>
              <a:rPr lang="da-DK" baseline="0" dirty="0"/>
              <a:t> have 5% </a:t>
            </a:r>
            <a:r>
              <a:rPr lang="da-DK" baseline="0" dirty="0" err="1"/>
              <a:t>remaining</a:t>
            </a:r>
            <a:r>
              <a:rPr lang="da-DK" baseline="0" dirty="0"/>
              <a:t> </a:t>
            </a:r>
            <a:r>
              <a:rPr lang="da-DK" baseline="0" dirty="0" err="1"/>
              <a:t>biomass</a:t>
            </a:r>
            <a:r>
              <a:rPr lang="da-DK" baseline="0" dirty="0"/>
              <a:t> </a:t>
            </a:r>
            <a:r>
              <a:rPr lang="da-DK" baseline="0" dirty="0" err="1"/>
              <a:t>boiler</a:t>
            </a:r>
            <a:r>
              <a:rPr lang="da-DK" baseline="0" dirty="0"/>
              <a:t> and </a:t>
            </a:r>
            <a:r>
              <a:rPr lang="da-DK" baseline="0" dirty="0" err="1"/>
              <a:t>electric</a:t>
            </a:r>
            <a:r>
              <a:rPr lang="da-DK" baseline="0" dirty="0"/>
              <a:t> heat</a:t>
            </a:r>
            <a:endParaRPr lang="da-DK" dirty="0"/>
          </a:p>
        </p:txBody>
      </p:sp>
      <p:sp>
        <p:nvSpPr>
          <p:cNvPr id="4" name="Slide Number Placeholder 3"/>
          <p:cNvSpPr>
            <a:spLocks noGrp="1"/>
          </p:cNvSpPr>
          <p:nvPr>
            <p:ph type="sldNum" sz="quarter" idx="10"/>
          </p:nvPr>
        </p:nvSpPr>
        <p:spPr/>
        <p:txBody>
          <a:bodyPr/>
          <a:lstStyle/>
          <a:p>
            <a:fld id="{8C896355-3DDC-9949-861F-AD0908BFCC23}" type="slidenum">
              <a:rPr lang="en-US" smtClean="0"/>
              <a:t>37</a:t>
            </a:fld>
            <a:endParaRPr lang="en-US"/>
          </a:p>
        </p:txBody>
      </p:sp>
    </p:spTree>
    <p:extLst>
      <p:ext uri="{BB962C8B-B14F-4D97-AF65-F5344CB8AC3E}">
        <p14:creationId xmlns:p14="http://schemas.microsoft.com/office/powerpoint/2010/main" val="22563163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C896355-3DDC-9949-861F-AD0908BFCC23}" type="slidenum">
              <a:rPr lang="en-US" smtClean="0"/>
              <a:t>50</a:t>
            </a:fld>
            <a:endParaRPr lang="en-US"/>
          </a:p>
        </p:txBody>
      </p:sp>
    </p:spTree>
    <p:extLst>
      <p:ext uri="{BB962C8B-B14F-4D97-AF65-F5344CB8AC3E}">
        <p14:creationId xmlns:p14="http://schemas.microsoft.com/office/powerpoint/2010/main" val="31185388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8579D3-A814-994C-BB34-78C867326F13}" type="datetimeFigureOut">
              <a:rPr lang="da-DK" smtClean="0"/>
              <a:t>17-05-2022</a:t>
            </a:fld>
            <a:endParaRPr lang="da-DK"/>
          </a:p>
        </p:txBody>
      </p:sp>
      <p:sp>
        <p:nvSpPr>
          <p:cNvPr id="3" name="Footer Placeholder 2"/>
          <p:cNvSpPr>
            <a:spLocks noGrp="1"/>
          </p:cNvSpPr>
          <p:nvPr>
            <p:ph type="ftr" sz="quarter" idx="11"/>
          </p:nvPr>
        </p:nvSpPr>
        <p:spPr/>
        <p:txBody>
          <a:bodyPr/>
          <a:lstStyle/>
          <a:p>
            <a:endParaRPr lang="da-DK"/>
          </a:p>
        </p:txBody>
      </p:sp>
      <p:sp>
        <p:nvSpPr>
          <p:cNvPr id="4" name="Slide Number Placeholder 3"/>
          <p:cNvSpPr>
            <a:spLocks noGrp="1"/>
          </p:cNvSpPr>
          <p:nvPr>
            <p:ph type="sldNum" sz="quarter" idx="12"/>
          </p:nvPr>
        </p:nvSpPr>
        <p:spPr/>
        <p:txBody>
          <a:bodyPr/>
          <a:lstStyle/>
          <a:p>
            <a:fld id="{8B8AD6B1-EE34-EA4B-A9EE-A6EC0124E526}" type="slidenum">
              <a:rPr lang="da-DK" smtClean="0"/>
              <a:t>‹nr.›</a:t>
            </a:fld>
            <a:endParaRPr lang="da-DK"/>
          </a:p>
        </p:txBody>
      </p:sp>
      <p:sp>
        <p:nvSpPr>
          <p:cNvPr id="5" name="Rektangel 4"/>
          <p:cNvSpPr/>
          <p:nvPr userDrawn="1"/>
        </p:nvSpPr>
        <p:spPr>
          <a:xfrm>
            <a:off x="0" y="0"/>
            <a:ext cx="9144000" cy="5143500"/>
          </a:xfrm>
          <a:prstGeom prst="rect">
            <a:avLst/>
          </a:prstGeom>
          <a:solidFill>
            <a:srgbClr val="F1F5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6" name="Billede 5"/>
          <p:cNvPicPr>
            <a:picLocks noChangeAspect="1"/>
          </p:cNvPicPr>
          <p:nvPr userDrawn="1"/>
        </p:nvPicPr>
        <p:blipFill rotWithShape="1">
          <a:blip r:embed="rId2">
            <a:extLst>
              <a:ext uri="{28A0092B-C50C-407E-A947-70E740481C1C}">
                <a14:useLocalDpi xmlns:a14="http://schemas.microsoft.com/office/drawing/2010/main" val="0"/>
              </a:ext>
            </a:extLst>
          </a:blip>
          <a:srcRect l="36954" r="1"/>
          <a:stretch/>
        </p:blipFill>
        <p:spPr>
          <a:xfrm>
            <a:off x="0" y="3468661"/>
            <a:ext cx="9144000" cy="1380210"/>
          </a:xfrm>
          <a:prstGeom prst="rect">
            <a:avLst/>
          </a:prstGeom>
        </p:spPr>
      </p:pic>
      <p:pic>
        <p:nvPicPr>
          <p:cNvPr id="7" name="Billed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645488" y="4648186"/>
            <a:ext cx="1853024" cy="363756"/>
          </a:xfrm>
          <a:prstGeom prst="rect">
            <a:avLst/>
          </a:prstGeom>
        </p:spPr>
      </p:pic>
      <p:pic>
        <p:nvPicPr>
          <p:cNvPr id="9" name="Billede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903672" y="334966"/>
            <a:ext cx="2882482" cy="628188"/>
          </a:xfrm>
          <a:prstGeom prst="rect">
            <a:avLst/>
          </a:prstGeom>
        </p:spPr>
      </p:pic>
      <p:sp>
        <p:nvSpPr>
          <p:cNvPr id="12" name="Title 1"/>
          <p:cNvSpPr>
            <a:spLocks noGrp="1"/>
          </p:cNvSpPr>
          <p:nvPr>
            <p:ph type="ctrTitle" hasCustomPrompt="1"/>
          </p:nvPr>
        </p:nvSpPr>
        <p:spPr>
          <a:xfrm>
            <a:off x="1143000" y="1257783"/>
            <a:ext cx="6858000" cy="1790700"/>
          </a:xfrm>
        </p:spPr>
        <p:txBody>
          <a:bodyPr anchor="b">
            <a:normAutofit/>
          </a:bodyPr>
          <a:lstStyle>
            <a:lvl1pPr algn="ctr">
              <a:defRPr sz="4000" b="0" i="0">
                <a:latin typeface="Helvetica Light" charset="0"/>
                <a:ea typeface="Helvetica Light" charset="0"/>
                <a:cs typeface="Helvetica Light" charset="0"/>
              </a:defRPr>
            </a:lvl1pPr>
          </a:lstStyle>
          <a:p>
            <a:r>
              <a:rPr lang="da-DK" dirty="0"/>
              <a:t>KLIK FOR AT REDIGERE I MASTEREN</a:t>
            </a:r>
            <a:endParaRPr lang="en-US" dirty="0"/>
          </a:p>
        </p:txBody>
      </p:sp>
      <p:sp>
        <p:nvSpPr>
          <p:cNvPr id="13" name="Subtitle 2"/>
          <p:cNvSpPr>
            <a:spLocks noGrp="1"/>
          </p:cNvSpPr>
          <p:nvPr>
            <p:ph type="subTitle" idx="1"/>
          </p:nvPr>
        </p:nvSpPr>
        <p:spPr>
          <a:xfrm>
            <a:off x="1143000" y="3117539"/>
            <a:ext cx="6858000" cy="1241822"/>
          </a:xfrm>
        </p:spPr>
        <p:txBody>
          <a:bodyPr/>
          <a:lstStyle>
            <a:lvl1pPr marL="0" indent="0" algn="ctr">
              <a:buNone/>
              <a:defRPr sz="1800" b="0" i="0">
                <a:latin typeface="Helvetica Light" charset="0"/>
                <a:ea typeface="Helvetica Light" charset="0"/>
                <a:cs typeface="Helvetica Light"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dirty="0"/>
              <a:t>Klik for at redigere i master</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le 1"/>
          <p:cNvSpPr>
            <a:spLocks noGrp="1"/>
          </p:cNvSpPr>
          <p:nvPr>
            <p:ph type="title"/>
          </p:nvPr>
        </p:nvSpPr>
        <p:spPr>
          <a:xfrm>
            <a:off x="629841" y="982266"/>
            <a:ext cx="2949178" cy="1041342"/>
          </a:xfrm>
        </p:spPr>
        <p:txBody>
          <a:bodyPr anchor="b"/>
          <a:lstStyle>
            <a:lvl1pPr>
              <a:defRPr sz="2400"/>
            </a:lvl1pPr>
          </a:lstStyle>
          <a:p>
            <a:r>
              <a:rPr lang="da-DK"/>
              <a:t>Klik for at redigere i masteren</a:t>
            </a:r>
            <a:endParaRPr lang="en-US" dirty="0"/>
          </a:p>
        </p:txBody>
      </p:sp>
      <p:sp>
        <p:nvSpPr>
          <p:cNvPr id="3" name="Picture Placeholder 2"/>
          <p:cNvSpPr>
            <a:spLocks noGrp="1" noChangeAspect="1"/>
          </p:cNvSpPr>
          <p:nvPr>
            <p:ph type="pic" idx="1"/>
          </p:nvPr>
        </p:nvSpPr>
        <p:spPr>
          <a:xfrm>
            <a:off x="3887391" y="1379936"/>
            <a:ext cx="4629150" cy="3171546"/>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da-DK"/>
              <a:t>Træk billede til pladsholder, eller klik på symbol for at tilføje</a:t>
            </a:r>
            <a:endParaRPr lang="en-US" dirty="0"/>
          </a:p>
        </p:txBody>
      </p:sp>
      <p:sp>
        <p:nvSpPr>
          <p:cNvPr id="4" name="Text Placeholder 3"/>
          <p:cNvSpPr>
            <a:spLocks noGrp="1"/>
          </p:cNvSpPr>
          <p:nvPr>
            <p:ph type="body" sz="half" idx="2"/>
          </p:nvPr>
        </p:nvSpPr>
        <p:spPr>
          <a:xfrm>
            <a:off x="629841" y="2182417"/>
            <a:ext cx="2949178" cy="248041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da-DK"/>
              <a:t>Klik for at redigere teksttypografierne i masteren</a:t>
            </a:r>
          </a:p>
        </p:txBody>
      </p:sp>
      <p:sp>
        <p:nvSpPr>
          <p:cNvPr id="5" name="Date Placeholder 4"/>
          <p:cNvSpPr>
            <a:spLocks noGrp="1"/>
          </p:cNvSpPr>
          <p:nvPr>
            <p:ph type="dt" sz="half" idx="10"/>
          </p:nvPr>
        </p:nvSpPr>
        <p:spPr/>
        <p:txBody>
          <a:bodyPr/>
          <a:lstStyle/>
          <a:p>
            <a:fld id="{F98579D3-A814-994C-BB34-78C867326F13}" type="datetimeFigureOut">
              <a:rPr lang="da-DK" smtClean="0"/>
              <a:t>17-05-2022</a:t>
            </a:fld>
            <a:endParaRPr lang="da-DK"/>
          </a:p>
        </p:txBody>
      </p:sp>
      <p:sp>
        <p:nvSpPr>
          <p:cNvPr id="6" name="Footer Placeholder 5"/>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8B8AD6B1-EE34-EA4B-A9EE-A6EC0124E526}" type="slidenum">
              <a:rPr lang="da-DK" smtClean="0"/>
              <a:t>‹nr.›</a:t>
            </a:fld>
            <a:endParaRPr lang="da-DK"/>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rugerdefineret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en</a:t>
            </a:r>
          </a:p>
        </p:txBody>
      </p:sp>
      <p:sp>
        <p:nvSpPr>
          <p:cNvPr id="3" name="Pladsholder til dato 2"/>
          <p:cNvSpPr>
            <a:spLocks noGrp="1"/>
          </p:cNvSpPr>
          <p:nvPr>
            <p:ph type="dt" sz="half" idx="10"/>
          </p:nvPr>
        </p:nvSpPr>
        <p:spPr/>
        <p:txBody>
          <a:bodyPr/>
          <a:lstStyle/>
          <a:p>
            <a:fld id="{F98579D3-A814-994C-BB34-78C867326F13}" type="datetimeFigureOut">
              <a:rPr lang="da-DK" smtClean="0"/>
              <a:t>17-05-2022</a:t>
            </a:fld>
            <a:endParaRPr lang="da-DK"/>
          </a:p>
        </p:txBody>
      </p:sp>
      <p:sp>
        <p:nvSpPr>
          <p:cNvPr id="4" name="Pladsholder til sidefod 3"/>
          <p:cNvSpPr>
            <a:spLocks noGrp="1"/>
          </p:cNvSpPr>
          <p:nvPr>
            <p:ph type="ftr" sz="quarter" idx="11"/>
          </p:nvPr>
        </p:nvSpPr>
        <p:spPr/>
        <p:txBody>
          <a:bodyPr/>
          <a:lstStyle/>
          <a:p>
            <a:endParaRPr lang="da-DK"/>
          </a:p>
        </p:txBody>
      </p:sp>
      <p:sp>
        <p:nvSpPr>
          <p:cNvPr id="5" name="Pladsholder til slidenummer 4"/>
          <p:cNvSpPr>
            <a:spLocks noGrp="1"/>
          </p:cNvSpPr>
          <p:nvPr>
            <p:ph type="sldNum" sz="quarter" idx="12"/>
          </p:nvPr>
        </p:nvSpPr>
        <p:spPr/>
        <p:txBody>
          <a:bodyPr/>
          <a:lstStyle/>
          <a:p>
            <a:fld id="{8B8AD6B1-EE34-EA4B-A9EE-A6EC0124E526}" type="slidenum">
              <a:rPr lang="da-DK" smtClean="0"/>
              <a:t>‹nr.›</a:t>
            </a:fld>
            <a:endParaRPr lang="da-DK"/>
          </a:p>
        </p:txBody>
      </p:sp>
    </p:spTree>
    <p:extLst>
      <p:ext uri="{BB962C8B-B14F-4D97-AF65-F5344CB8AC3E}">
        <p14:creationId xmlns:p14="http://schemas.microsoft.com/office/powerpoint/2010/main" val="10844454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4" name="Pladsholder til dato 3"/>
          <p:cNvSpPr>
            <a:spLocks noGrp="1"/>
          </p:cNvSpPr>
          <p:nvPr>
            <p:ph type="dt" sz="half" idx="10"/>
          </p:nvPr>
        </p:nvSpPr>
        <p:spPr/>
        <p:txBody>
          <a:bodyPr/>
          <a:lstStyle/>
          <a:p>
            <a:fld id="{FE4E5347-0F2E-4BCF-BFF6-45461BD33409}" type="datetimeFigureOut">
              <a:rPr lang="en-GB" smtClean="0"/>
              <a:pPr/>
              <a:t>17/05/2022</a:t>
            </a:fld>
            <a:endParaRPr lang="en-GB"/>
          </a:p>
        </p:txBody>
      </p:sp>
      <p:sp>
        <p:nvSpPr>
          <p:cNvPr id="6" name="Pladsholder til diasnummer 5"/>
          <p:cNvSpPr>
            <a:spLocks noGrp="1"/>
          </p:cNvSpPr>
          <p:nvPr>
            <p:ph type="sldNum" sz="quarter" idx="12"/>
          </p:nvPr>
        </p:nvSpPr>
        <p:spPr/>
        <p:txBody>
          <a:bodyPr/>
          <a:lstStyle/>
          <a:p>
            <a:fld id="{AA032816-285D-421A-AE7A-0B64215B3A61}" type="slidenum">
              <a:rPr lang="en-GB" smtClean="0"/>
              <a:pPr/>
              <a:t>‹nr.›</a:t>
            </a:fld>
            <a:endParaRPr lang="en-GB"/>
          </a:p>
        </p:txBody>
      </p:sp>
      <p:sp>
        <p:nvSpPr>
          <p:cNvPr id="7" name="Pladsholder til titel 1"/>
          <p:cNvSpPr>
            <a:spLocks noGrp="1"/>
          </p:cNvSpPr>
          <p:nvPr>
            <p:ph type="title" hasCustomPrompt="1"/>
          </p:nvPr>
        </p:nvSpPr>
        <p:spPr>
          <a:xfrm>
            <a:off x="457200" y="205979"/>
            <a:ext cx="8229600" cy="857250"/>
          </a:xfrm>
          <a:prstGeom prst="rect">
            <a:avLst/>
          </a:prstGeom>
        </p:spPr>
        <p:txBody>
          <a:bodyPr vert="horz" lIns="91440" tIns="45720" rIns="91440" bIns="45720" rtlCol="0" anchor="ctr">
            <a:normAutofit/>
          </a:bodyPr>
          <a:lstStyle/>
          <a:p>
            <a:r>
              <a:rPr lang="da-DK" dirty="0" err="1"/>
              <a:t>Click</a:t>
            </a:r>
            <a:r>
              <a:rPr lang="da-DK" dirty="0"/>
              <a:t> to </a:t>
            </a:r>
            <a:r>
              <a:rPr lang="da-DK" dirty="0" err="1"/>
              <a:t>edit</a:t>
            </a:r>
            <a:endParaRPr lang="da-DK" dirty="0"/>
          </a:p>
        </p:txBody>
      </p:sp>
      <p:sp>
        <p:nvSpPr>
          <p:cNvPr id="8" name="Pladsholder til tekst 2"/>
          <p:cNvSpPr>
            <a:spLocks noGrp="1"/>
          </p:cNvSpPr>
          <p:nvPr>
            <p:ph idx="1" hasCustomPrompt="1"/>
          </p:nvPr>
        </p:nvSpPr>
        <p:spPr>
          <a:xfrm>
            <a:off x="457200" y="1200153"/>
            <a:ext cx="8229600" cy="3207803"/>
          </a:xfrm>
          <a:prstGeom prst="rect">
            <a:avLst/>
          </a:prstGeom>
        </p:spPr>
        <p:txBody>
          <a:bodyPr vert="horz" lIns="91440" tIns="45720" rIns="91440" bIns="45720" rtlCol="0">
            <a:normAutofit/>
          </a:bodyPr>
          <a:lstStyle/>
          <a:p>
            <a:pPr lvl="0"/>
            <a:r>
              <a:rPr lang="da-DK" dirty="0" err="1"/>
              <a:t>Click</a:t>
            </a:r>
            <a:r>
              <a:rPr lang="da-DK" dirty="0"/>
              <a:t> to </a:t>
            </a:r>
            <a:r>
              <a:rPr lang="da-DK" dirty="0" err="1"/>
              <a:t>edit</a:t>
            </a:r>
            <a:r>
              <a:rPr lang="da-DK" dirty="0"/>
              <a:t> </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Tree>
    <p:extLst>
      <p:ext uri="{BB962C8B-B14F-4D97-AF65-F5344CB8AC3E}">
        <p14:creationId xmlns:p14="http://schemas.microsoft.com/office/powerpoint/2010/main" val="32953984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AndTwoObj">
  <p:cSld name="Titel, ét indholdsobjekt og 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762000" y="571500"/>
            <a:ext cx="7924800" cy="857250"/>
          </a:xfrm>
        </p:spPr>
        <p:txBody>
          <a:bodyPr/>
          <a:lstStyle/>
          <a:p>
            <a:r>
              <a:rPr lang="da-DK"/>
              <a:t>Klik for at redigere titeltypografi i masteren</a:t>
            </a:r>
          </a:p>
        </p:txBody>
      </p:sp>
      <p:sp>
        <p:nvSpPr>
          <p:cNvPr id="3" name="Pladsholder til indhold 2"/>
          <p:cNvSpPr>
            <a:spLocks noGrp="1"/>
          </p:cNvSpPr>
          <p:nvPr>
            <p:ph sz="half" idx="1"/>
          </p:nvPr>
        </p:nvSpPr>
        <p:spPr>
          <a:xfrm>
            <a:off x="838202" y="1771651"/>
            <a:ext cx="3770313" cy="2793206"/>
          </a:xfrm>
        </p:spPr>
        <p:txBody>
          <a:body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p:cNvSpPr>
            <a:spLocks noGrp="1"/>
          </p:cNvSpPr>
          <p:nvPr>
            <p:ph sz="quarter" idx="2"/>
          </p:nvPr>
        </p:nvSpPr>
        <p:spPr>
          <a:xfrm>
            <a:off x="4760913" y="1771650"/>
            <a:ext cx="3770312" cy="1339454"/>
          </a:xfrm>
        </p:spPr>
        <p:txBody>
          <a:body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indhold 4"/>
          <p:cNvSpPr>
            <a:spLocks noGrp="1"/>
          </p:cNvSpPr>
          <p:nvPr>
            <p:ph sz="quarter" idx="3"/>
          </p:nvPr>
        </p:nvSpPr>
        <p:spPr>
          <a:xfrm>
            <a:off x="4760913" y="3225404"/>
            <a:ext cx="3770312" cy="1339453"/>
          </a:xfrm>
        </p:spPr>
        <p:txBody>
          <a:body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dato 5"/>
          <p:cNvSpPr>
            <a:spLocks noGrp="1"/>
          </p:cNvSpPr>
          <p:nvPr>
            <p:ph type="dt" sz="half" idx="10"/>
          </p:nvPr>
        </p:nvSpPr>
        <p:spPr>
          <a:xfrm>
            <a:off x="2438401" y="4686301"/>
            <a:ext cx="2130425" cy="355997"/>
          </a:xfrm>
          <a:prstGeom prst="rect">
            <a:avLst/>
          </a:prstGeom>
        </p:spPr>
        <p:txBody>
          <a:bodyPr lIns="82945" tIns="41473" rIns="82945" bIns="41473"/>
          <a:lstStyle>
            <a:lvl1pPr>
              <a:defRPr>
                <a:latin typeface="Arial" pitchFamily="34" charset="0"/>
              </a:defRPr>
            </a:lvl1pPr>
          </a:lstStyle>
          <a:p>
            <a:pPr>
              <a:defRPr/>
            </a:pPr>
            <a:endParaRPr lang="da-DK"/>
          </a:p>
        </p:txBody>
      </p:sp>
      <p:sp>
        <p:nvSpPr>
          <p:cNvPr id="7" name="Pladsholder til sidefod 6"/>
          <p:cNvSpPr>
            <a:spLocks noGrp="1"/>
          </p:cNvSpPr>
          <p:nvPr>
            <p:ph type="ftr" sz="quarter" idx="11"/>
          </p:nvPr>
        </p:nvSpPr>
        <p:spPr>
          <a:xfrm>
            <a:off x="5791200" y="4686301"/>
            <a:ext cx="2897188" cy="355997"/>
          </a:xfrm>
          <a:prstGeom prst="rect">
            <a:avLst/>
          </a:prstGeom>
        </p:spPr>
        <p:txBody>
          <a:bodyPr/>
          <a:lstStyle>
            <a:lvl1pPr>
              <a:defRPr/>
            </a:lvl1pPr>
          </a:lstStyle>
          <a:p>
            <a:pPr>
              <a:defRPr/>
            </a:pPr>
            <a:endParaRPr lang="da-DK"/>
          </a:p>
        </p:txBody>
      </p:sp>
      <p:sp>
        <p:nvSpPr>
          <p:cNvPr id="8" name="Pladsholder til diasnummer 7"/>
          <p:cNvSpPr>
            <a:spLocks noGrp="1"/>
          </p:cNvSpPr>
          <p:nvPr>
            <p:ph type="sldNum" sz="quarter" idx="12"/>
          </p:nvPr>
        </p:nvSpPr>
        <p:spPr>
          <a:xfrm>
            <a:off x="84139" y="4681537"/>
            <a:ext cx="587375" cy="366713"/>
          </a:xfrm>
          <a:prstGeom prst="rect">
            <a:avLst/>
          </a:prstGeom>
        </p:spPr>
        <p:txBody>
          <a:bodyPr/>
          <a:lstStyle>
            <a:lvl1pPr>
              <a:defRPr/>
            </a:lvl1pPr>
          </a:lstStyle>
          <a:p>
            <a:pPr>
              <a:defRPr/>
            </a:pPr>
            <a:fld id="{DB02C349-0AF5-4F74-9F1B-0BAFE745BE5F}" type="slidenum">
              <a:rPr lang="da-DK"/>
              <a:pPr>
                <a:defRPr/>
              </a:pPr>
              <a:t>‹nr.›</a:t>
            </a:fld>
            <a:endParaRPr lang="da-DK"/>
          </a:p>
        </p:txBody>
      </p:sp>
    </p:spTree>
    <p:extLst>
      <p:ext uri="{BB962C8B-B14F-4D97-AF65-F5344CB8AC3E}">
        <p14:creationId xmlns:p14="http://schemas.microsoft.com/office/powerpoint/2010/main" val="26979666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w. bullets">
    <p:spTree>
      <p:nvGrpSpPr>
        <p:cNvPr id="1" name=""/>
        <p:cNvGrpSpPr/>
        <p:nvPr/>
      </p:nvGrpSpPr>
      <p:grpSpPr>
        <a:xfrm>
          <a:off x="0" y="0"/>
          <a:ext cx="0" cy="0"/>
          <a:chOff x="0" y="0"/>
          <a:chExt cx="0" cy="0"/>
        </a:xfrm>
      </p:grpSpPr>
      <p:sp>
        <p:nvSpPr>
          <p:cNvPr id="4" name="Номер слайда 21"/>
          <p:cNvSpPr>
            <a:spLocks noGrp="1"/>
          </p:cNvSpPr>
          <p:nvPr>
            <p:ph type="sldNum" sz="quarter" idx="4"/>
          </p:nvPr>
        </p:nvSpPr>
        <p:spPr>
          <a:xfrm>
            <a:off x="8504916" y="444917"/>
            <a:ext cx="428601" cy="170373"/>
          </a:xfrm>
          <a:prstGeom prst="rect">
            <a:avLst/>
          </a:prstGeom>
          <a:noFill/>
        </p:spPr>
        <p:txBody>
          <a:bodyPr vert="horz" lIns="0" tIns="0" rIns="0" bIns="0" rtlCol="0" anchor="ctr"/>
          <a:lstStyle>
            <a:lvl1pPr algn="r">
              <a:defRPr sz="563" b="1" i="0">
                <a:solidFill>
                  <a:schemeClr val="tx1">
                    <a:alpha val="70000"/>
                  </a:schemeClr>
                </a:solidFill>
                <a:latin typeface="+mn-lt"/>
                <a:ea typeface="Montserrat Medium" charset="0"/>
                <a:cs typeface="Montserrat Medium" charset="0"/>
              </a:defRPr>
            </a:lvl1pPr>
          </a:lstStyle>
          <a:p>
            <a:pPr rtl="0"/>
            <a:fld id="{D8D877B3-D348-4611-9BDB-C5374591D951}" type="slidenum">
              <a:rPr lang="en-US" smtClean="0"/>
              <a:pPr rtl="0"/>
              <a:t>‹nr.›</a:t>
            </a:fld>
            <a:endParaRPr lang="en-US"/>
          </a:p>
        </p:txBody>
      </p:sp>
      <p:sp>
        <p:nvSpPr>
          <p:cNvPr id="3" name="Title 4"/>
          <p:cNvSpPr>
            <a:spLocks noGrp="1"/>
          </p:cNvSpPr>
          <p:nvPr>
            <p:ph type="title" hasCustomPrompt="1"/>
          </p:nvPr>
        </p:nvSpPr>
        <p:spPr>
          <a:xfrm>
            <a:off x="440532" y="277719"/>
            <a:ext cx="3831431" cy="1105789"/>
          </a:xfrm>
        </p:spPr>
        <p:txBody>
          <a:bodyPr rtlCol="0"/>
          <a:lstStyle>
            <a:lvl1pPr>
              <a:defRPr sz="2025"/>
            </a:lvl1pPr>
          </a:lstStyle>
          <a:p>
            <a:pPr rtl="0"/>
            <a:r>
              <a:rPr lang="en-gb"/>
              <a:t>CLICK TO EDIT TITLE</a:t>
            </a:r>
          </a:p>
        </p:txBody>
      </p:sp>
      <p:sp>
        <p:nvSpPr>
          <p:cNvPr id="5" name="Pladsholder til tekst 10"/>
          <p:cNvSpPr>
            <a:spLocks noGrp="1"/>
          </p:cNvSpPr>
          <p:nvPr>
            <p:ph type="body" sz="quarter" idx="12" hasCustomPrompt="1"/>
          </p:nvPr>
        </p:nvSpPr>
        <p:spPr>
          <a:xfrm>
            <a:off x="440531" y="1549003"/>
            <a:ext cx="8064384" cy="2777772"/>
          </a:xfrm>
        </p:spPr>
        <p:txBody>
          <a:bodyPr rtlCol="0"/>
          <a:lstStyle>
            <a:lvl1pPr marL="160735" indent="-160735">
              <a:buFontTx/>
              <a:buBlip>
                <a:blip r:embed="rId2"/>
              </a:buBlip>
              <a:defRPr/>
            </a:lvl1pPr>
          </a:lstStyle>
          <a:p>
            <a:pPr lvl="0" rtl="0"/>
            <a:r>
              <a:rPr lang="en-gb"/>
              <a:t>INSERT TEXT</a:t>
            </a:r>
          </a:p>
        </p:txBody>
      </p:sp>
    </p:spTree>
    <p:extLst>
      <p:ext uri="{BB962C8B-B14F-4D97-AF65-F5344CB8AC3E}">
        <p14:creationId xmlns:p14="http://schemas.microsoft.com/office/powerpoint/2010/main" val="22782455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 x billede højre + bullets">
    <p:spTree>
      <p:nvGrpSpPr>
        <p:cNvPr id="1" name=""/>
        <p:cNvGrpSpPr/>
        <p:nvPr/>
      </p:nvGrpSpPr>
      <p:grpSpPr>
        <a:xfrm>
          <a:off x="0" y="0"/>
          <a:ext cx="0" cy="0"/>
          <a:chOff x="0" y="0"/>
          <a:chExt cx="0" cy="0"/>
        </a:xfrm>
      </p:grpSpPr>
      <p:sp>
        <p:nvSpPr>
          <p:cNvPr id="6" name="Picture Placeholder 4"/>
          <p:cNvSpPr>
            <a:spLocks noGrp="1"/>
          </p:cNvSpPr>
          <p:nvPr>
            <p:ph type="pic" sz="quarter" idx="11" hasCustomPrompt="1"/>
          </p:nvPr>
        </p:nvSpPr>
        <p:spPr>
          <a:xfrm>
            <a:off x="5579076" y="0"/>
            <a:ext cx="3564924" cy="5143500"/>
          </a:xfrm>
          <a:prstGeom prst="rect">
            <a:avLst/>
          </a:prstGeom>
          <a:pattFill prst="pct10">
            <a:fgClr>
              <a:schemeClr val="tx1"/>
            </a:fgClr>
            <a:bgClr>
              <a:schemeClr val="bg1"/>
            </a:bgClr>
          </a:pattFill>
        </p:spPr>
        <p:txBody>
          <a:bodyPr anchor="ctr">
            <a:normAutofit/>
          </a:bodyPr>
          <a:lstStyle>
            <a:lvl1pPr algn="ctr">
              <a:defRPr sz="750" b="1" baseline="0"/>
            </a:lvl1pPr>
          </a:lstStyle>
          <a:p>
            <a:r>
              <a:rPr lang="en-US" dirty="0"/>
              <a:t>Drag &amp; Drop Imag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nr.›</a:t>
            </a:fld>
            <a:endParaRPr lang="en-US" dirty="0"/>
          </a:p>
        </p:txBody>
      </p:sp>
      <p:sp>
        <p:nvSpPr>
          <p:cNvPr id="5" name="Title 4"/>
          <p:cNvSpPr>
            <a:spLocks noGrp="1"/>
          </p:cNvSpPr>
          <p:nvPr>
            <p:ph type="title" hasCustomPrompt="1"/>
          </p:nvPr>
        </p:nvSpPr>
        <p:spPr>
          <a:xfrm>
            <a:off x="440531" y="269455"/>
            <a:ext cx="3367834" cy="1216214"/>
          </a:xfrm>
        </p:spPr>
        <p:txBody>
          <a:bodyPr/>
          <a:lstStyle>
            <a:lvl1pPr>
              <a:defRPr sz="2700"/>
            </a:lvl1pPr>
          </a:lstStyle>
          <a:p>
            <a:r>
              <a:rPr lang="en-US"/>
              <a:t>KLIK HER FOR AT ÆNDRE TITEL</a:t>
            </a:r>
            <a:endParaRPr lang="en-US" dirty="0"/>
          </a:p>
        </p:txBody>
      </p:sp>
      <p:sp>
        <p:nvSpPr>
          <p:cNvPr id="4" name="Pladsholder til tekst 3"/>
          <p:cNvSpPr>
            <a:spLocks noGrp="1"/>
          </p:cNvSpPr>
          <p:nvPr>
            <p:ph type="body" sz="quarter" idx="12" hasCustomPrompt="1"/>
          </p:nvPr>
        </p:nvSpPr>
        <p:spPr>
          <a:xfrm>
            <a:off x="440532" y="1607520"/>
            <a:ext cx="3367834" cy="2814086"/>
          </a:xfrm>
        </p:spPr>
        <p:txBody>
          <a:bodyPr/>
          <a:lstStyle>
            <a:lvl1pPr marL="214313" indent="-214313">
              <a:lnSpc>
                <a:spcPct val="100000"/>
              </a:lnSpc>
              <a:spcBef>
                <a:spcPts val="450"/>
              </a:spcBef>
              <a:buFontTx/>
              <a:buBlip>
                <a:blip r:embed="rId2"/>
              </a:buBlip>
              <a:defRPr sz="1200" baseline="0"/>
            </a:lvl1pPr>
          </a:lstStyle>
          <a:p>
            <a:pPr lvl="0"/>
            <a:r>
              <a:rPr lang="da-DK"/>
              <a:t>Indsæt bullets</a:t>
            </a:r>
            <a:endParaRPr lang="da-DK" dirty="0"/>
          </a:p>
          <a:p>
            <a:pPr lvl="0"/>
            <a:endParaRPr lang="da-DK" dirty="0"/>
          </a:p>
          <a:p>
            <a:pPr lvl="0"/>
            <a:endParaRPr lang="da-DK" dirty="0"/>
          </a:p>
        </p:txBody>
      </p:sp>
    </p:spTree>
    <p:extLst>
      <p:ext uri="{BB962C8B-B14F-4D97-AF65-F5344CB8AC3E}">
        <p14:creationId xmlns:p14="http://schemas.microsoft.com/office/powerpoint/2010/main" val="31808429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om">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8579D3-A814-994C-BB34-78C867326F13}" type="datetimeFigureOut">
              <a:rPr lang="da-DK" smtClean="0"/>
              <a:t>17-05-2022</a:t>
            </a:fld>
            <a:endParaRPr lang="da-DK"/>
          </a:p>
        </p:txBody>
      </p:sp>
      <p:sp>
        <p:nvSpPr>
          <p:cNvPr id="3" name="Footer Placeholder 2"/>
          <p:cNvSpPr>
            <a:spLocks noGrp="1"/>
          </p:cNvSpPr>
          <p:nvPr>
            <p:ph type="ftr" sz="quarter" idx="11"/>
          </p:nvPr>
        </p:nvSpPr>
        <p:spPr/>
        <p:txBody>
          <a:bodyPr/>
          <a:lstStyle/>
          <a:p>
            <a:endParaRPr lang="da-DK"/>
          </a:p>
        </p:txBody>
      </p:sp>
      <p:sp>
        <p:nvSpPr>
          <p:cNvPr id="4" name="Slide Number Placeholder 3"/>
          <p:cNvSpPr>
            <a:spLocks noGrp="1"/>
          </p:cNvSpPr>
          <p:nvPr>
            <p:ph type="sldNum" sz="quarter" idx="12"/>
          </p:nvPr>
        </p:nvSpPr>
        <p:spPr/>
        <p:txBody>
          <a:bodyPr/>
          <a:lstStyle/>
          <a:p>
            <a:fld id="{8B8AD6B1-EE34-EA4B-A9EE-A6EC0124E526}" type="slidenum">
              <a:rPr lang="da-DK" smtClean="0"/>
              <a:t>‹nr.›</a:t>
            </a:fld>
            <a:endParaRPr lang="da-DK"/>
          </a:p>
        </p:txBody>
      </p:sp>
      <p:sp>
        <p:nvSpPr>
          <p:cNvPr id="5" name="Rektangel 4"/>
          <p:cNvSpPr/>
          <p:nvPr userDrawn="1"/>
        </p:nvSpPr>
        <p:spPr>
          <a:xfrm>
            <a:off x="0" y="0"/>
            <a:ext cx="9144000" cy="5143500"/>
          </a:xfrm>
          <a:prstGeom prst="rect">
            <a:avLst/>
          </a:prstGeom>
          <a:solidFill>
            <a:srgbClr val="F1F5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6" name="Billede 5"/>
          <p:cNvPicPr>
            <a:picLocks noChangeAspect="1"/>
          </p:cNvPicPr>
          <p:nvPr userDrawn="1"/>
        </p:nvPicPr>
        <p:blipFill rotWithShape="1">
          <a:blip r:embed="rId2">
            <a:extLst>
              <a:ext uri="{28A0092B-C50C-407E-A947-70E740481C1C}">
                <a14:useLocalDpi xmlns:a14="http://schemas.microsoft.com/office/drawing/2010/main" val="0"/>
              </a:ext>
            </a:extLst>
          </a:blip>
          <a:srcRect l="36954" r="1"/>
          <a:stretch/>
        </p:blipFill>
        <p:spPr>
          <a:xfrm>
            <a:off x="0" y="3468661"/>
            <a:ext cx="9144000" cy="1380210"/>
          </a:xfrm>
          <a:prstGeom prst="rect">
            <a:avLst/>
          </a:prstGeom>
        </p:spPr>
      </p:pic>
      <p:pic>
        <p:nvPicPr>
          <p:cNvPr id="8" name="Billed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903672" y="334966"/>
            <a:ext cx="2882482" cy="628188"/>
          </a:xfrm>
          <a:prstGeom prst="rect">
            <a:avLst/>
          </a:prstGeom>
        </p:spPr>
      </p:pic>
      <p:sp>
        <p:nvSpPr>
          <p:cNvPr id="12" name="Title 1"/>
          <p:cNvSpPr>
            <a:spLocks noGrp="1"/>
          </p:cNvSpPr>
          <p:nvPr>
            <p:ph type="ctrTitle" hasCustomPrompt="1"/>
          </p:nvPr>
        </p:nvSpPr>
        <p:spPr>
          <a:xfrm>
            <a:off x="1143000" y="1257783"/>
            <a:ext cx="6858000" cy="1790700"/>
          </a:xfrm>
        </p:spPr>
        <p:txBody>
          <a:bodyPr anchor="b">
            <a:normAutofit/>
          </a:bodyPr>
          <a:lstStyle>
            <a:lvl1pPr algn="ctr">
              <a:defRPr sz="4000" b="0" i="0">
                <a:latin typeface="Helvetica Light" charset="0"/>
                <a:ea typeface="Helvetica Light" charset="0"/>
                <a:cs typeface="Helvetica Light" charset="0"/>
              </a:defRPr>
            </a:lvl1pPr>
          </a:lstStyle>
          <a:p>
            <a:r>
              <a:rPr lang="da-DK" dirty="0"/>
              <a:t>KLIK FOR AT REDIGERE I MASTEREN</a:t>
            </a:r>
            <a:endParaRPr lang="en-US" dirty="0"/>
          </a:p>
        </p:txBody>
      </p:sp>
      <p:sp>
        <p:nvSpPr>
          <p:cNvPr id="13" name="Subtitle 2"/>
          <p:cNvSpPr>
            <a:spLocks noGrp="1"/>
          </p:cNvSpPr>
          <p:nvPr>
            <p:ph type="subTitle" idx="1"/>
          </p:nvPr>
        </p:nvSpPr>
        <p:spPr>
          <a:xfrm>
            <a:off x="1143000" y="3117539"/>
            <a:ext cx="6858000" cy="1241822"/>
          </a:xfrm>
        </p:spPr>
        <p:txBody>
          <a:bodyPr/>
          <a:lstStyle>
            <a:lvl1pPr marL="0" indent="0" algn="ctr">
              <a:buNone/>
              <a:defRPr sz="1800" b="0" i="0">
                <a:latin typeface="Helvetica Light" charset="0"/>
                <a:ea typeface="Helvetica Light" charset="0"/>
                <a:cs typeface="Helvetica Light"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dirty="0"/>
              <a:t>Klik for at redigere i master</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1_Tom">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8579D3-A814-994C-BB34-78C867326F13}" type="datetimeFigureOut">
              <a:rPr lang="da-DK" smtClean="0"/>
              <a:t>17-05-2022</a:t>
            </a:fld>
            <a:endParaRPr lang="da-DK"/>
          </a:p>
        </p:txBody>
      </p:sp>
      <p:sp>
        <p:nvSpPr>
          <p:cNvPr id="3" name="Footer Placeholder 2"/>
          <p:cNvSpPr>
            <a:spLocks noGrp="1"/>
          </p:cNvSpPr>
          <p:nvPr>
            <p:ph type="ftr" sz="quarter" idx="11"/>
          </p:nvPr>
        </p:nvSpPr>
        <p:spPr/>
        <p:txBody>
          <a:bodyPr/>
          <a:lstStyle/>
          <a:p>
            <a:endParaRPr lang="da-DK"/>
          </a:p>
        </p:txBody>
      </p:sp>
      <p:sp>
        <p:nvSpPr>
          <p:cNvPr id="4" name="Slide Number Placeholder 3"/>
          <p:cNvSpPr>
            <a:spLocks noGrp="1"/>
          </p:cNvSpPr>
          <p:nvPr>
            <p:ph type="sldNum" sz="quarter" idx="12"/>
          </p:nvPr>
        </p:nvSpPr>
        <p:spPr/>
        <p:txBody>
          <a:bodyPr/>
          <a:lstStyle/>
          <a:p>
            <a:fld id="{8B8AD6B1-EE34-EA4B-A9EE-A6EC0124E526}" type="slidenum">
              <a:rPr lang="da-DK" smtClean="0"/>
              <a:t>‹nr.›</a:t>
            </a:fld>
            <a:endParaRPr lang="da-DK"/>
          </a:p>
        </p:txBody>
      </p:sp>
      <p:sp>
        <p:nvSpPr>
          <p:cNvPr id="5" name="Rektangel 4"/>
          <p:cNvSpPr/>
          <p:nvPr userDrawn="1"/>
        </p:nvSpPr>
        <p:spPr>
          <a:xfrm>
            <a:off x="0" y="0"/>
            <a:ext cx="9144000" cy="5143500"/>
          </a:xfrm>
          <a:prstGeom prst="rect">
            <a:avLst/>
          </a:prstGeom>
          <a:solidFill>
            <a:srgbClr val="F1F5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6" name="Billede 5"/>
          <p:cNvPicPr>
            <a:picLocks noChangeAspect="1"/>
          </p:cNvPicPr>
          <p:nvPr userDrawn="1"/>
        </p:nvPicPr>
        <p:blipFill rotWithShape="1">
          <a:blip r:embed="rId2">
            <a:extLst>
              <a:ext uri="{28A0092B-C50C-407E-A947-70E740481C1C}">
                <a14:useLocalDpi xmlns:a14="http://schemas.microsoft.com/office/drawing/2010/main" val="0"/>
              </a:ext>
            </a:extLst>
          </a:blip>
          <a:srcRect l="36954" r="1"/>
          <a:stretch/>
        </p:blipFill>
        <p:spPr>
          <a:xfrm>
            <a:off x="0" y="3468661"/>
            <a:ext cx="9144000" cy="1380210"/>
          </a:xfrm>
          <a:prstGeom prst="rect">
            <a:avLst/>
          </a:prstGeom>
        </p:spPr>
      </p:pic>
      <p:pic>
        <p:nvPicPr>
          <p:cNvPr id="7" name="Billed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645488" y="4648186"/>
            <a:ext cx="1853024" cy="363756"/>
          </a:xfrm>
          <a:prstGeom prst="rect">
            <a:avLst/>
          </a:prstGeom>
        </p:spPr>
      </p:pic>
      <p:pic>
        <p:nvPicPr>
          <p:cNvPr id="9" name="Billede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436551" y="1551704"/>
            <a:ext cx="5816724" cy="1267656"/>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3_Tom">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8579D3-A814-994C-BB34-78C867326F13}" type="datetimeFigureOut">
              <a:rPr lang="da-DK" smtClean="0"/>
              <a:t>17-05-2022</a:t>
            </a:fld>
            <a:endParaRPr lang="da-DK"/>
          </a:p>
        </p:txBody>
      </p:sp>
      <p:sp>
        <p:nvSpPr>
          <p:cNvPr id="3" name="Footer Placeholder 2"/>
          <p:cNvSpPr>
            <a:spLocks noGrp="1"/>
          </p:cNvSpPr>
          <p:nvPr>
            <p:ph type="ftr" sz="quarter" idx="11"/>
          </p:nvPr>
        </p:nvSpPr>
        <p:spPr/>
        <p:txBody>
          <a:bodyPr/>
          <a:lstStyle/>
          <a:p>
            <a:endParaRPr lang="da-DK"/>
          </a:p>
        </p:txBody>
      </p:sp>
      <p:sp>
        <p:nvSpPr>
          <p:cNvPr id="4" name="Slide Number Placeholder 3"/>
          <p:cNvSpPr>
            <a:spLocks noGrp="1"/>
          </p:cNvSpPr>
          <p:nvPr>
            <p:ph type="sldNum" sz="quarter" idx="12"/>
          </p:nvPr>
        </p:nvSpPr>
        <p:spPr/>
        <p:txBody>
          <a:bodyPr/>
          <a:lstStyle/>
          <a:p>
            <a:fld id="{8B8AD6B1-EE34-EA4B-A9EE-A6EC0124E526}" type="slidenum">
              <a:rPr lang="da-DK" smtClean="0"/>
              <a:t>‹nr.›</a:t>
            </a:fld>
            <a:endParaRPr lang="da-DK"/>
          </a:p>
        </p:txBody>
      </p:sp>
      <p:sp>
        <p:nvSpPr>
          <p:cNvPr id="5" name="Rektangel 4"/>
          <p:cNvSpPr/>
          <p:nvPr userDrawn="1"/>
        </p:nvSpPr>
        <p:spPr>
          <a:xfrm>
            <a:off x="0" y="0"/>
            <a:ext cx="9144000" cy="5143500"/>
          </a:xfrm>
          <a:prstGeom prst="rect">
            <a:avLst/>
          </a:prstGeom>
          <a:solidFill>
            <a:srgbClr val="F1F5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6" name="Billede 5"/>
          <p:cNvPicPr>
            <a:picLocks noChangeAspect="1"/>
          </p:cNvPicPr>
          <p:nvPr userDrawn="1"/>
        </p:nvPicPr>
        <p:blipFill rotWithShape="1">
          <a:blip r:embed="rId2">
            <a:extLst>
              <a:ext uri="{28A0092B-C50C-407E-A947-70E740481C1C}">
                <a14:useLocalDpi xmlns:a14="http://schemas.microsoft.com/office/drawing/2010/main" val="0"/>
              </a:ext>
            </a:extLst>
          </a:blip>
          <a:srcRect l="36954" r="1"/>
          <a:stretch/>
        </p:blipFill>
        <p:spPr>
          <a:xfrm>
            <a:off x="0" y="3468661"/>
            <a:ext cx="9144000" cy="1380210"/>
          </a:xfrm>
          <a:prstGeom prst="rect">
            <a:avLst/>
          </a:prstGeom>
        </p:spPr>
      </p:pic>
      <p:pic>
        <p:nvPicPr>
          <p:cNvPr id="9" name="Billed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36551" y="1551704"/>
            <a:ext cx="5816724" cy="1267656"/>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4_Tom">
    <p:spTree>
      <p:nvGrpSpPr>
        <p:cNvPr id="1" name=""/>
        <p:cNvGrpSpPr/>
        <p:nvPr/>
      </p:nvGrpSpPr>
      <p:grpSpPr>
        <a:xfrm>
          <a:off x="0" y="0"/>
          <a:ext cx="0" cy="0"/>
          <a:chOff x="0" y="0"/>
          <a:chExt cx="0" cy="0"/>
        </a:xfrm>
      </p:grpSpPr>
      <p:sp>
        <p:nvSpPr>
          <p:cNvPr id="5" name="Rektangel 4"/>
          <p:cNvSpPr/>
          <p:nvPr userDrawn="1"/>
        </p:nvSpPr>
        <p:spPr>
          <a:xfrm>
            <a:off x="0" y="0"/>
            <a:ext cx="9144000" cy="5143500"/>
          </a:xfrm>
          <a:prstGeom prst="rect">
            <a:avLst/>
          </a:prstGeom>
          <a:solidFill>
            <a:srgbClr val="F1F5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7" name="Billed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5488" y="4648186"/>
            <a:ext cx="1853024" cy="363756"/>
          </a:xfrm>
          <a:prstGeom prst="rect">
            <a:avLst/>
          </a:prstGeom>
        </p:spPr>
      </p:pic>
      <p:sp>
        <p:nvSpPr>
          <p:cNvPr id="8" name="Rektangel 7"/>
          <p:cNvSpPr/>
          <p:nvPr userDrawn="1"/>
        </p:nvSpPr>
        <p:spPr>
          <a:xfrm>
            <a:off x="0" y="3936159"/>
            <a:ext cx="9144000" cy="442061"/>
          </a:xfrm>
          <a:prstGeom prst="rect">
            <a:avLst/>
          </a:prstGeom>
          <a:solidFill>
            <a:srgbClr val="253C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p:cNvPicPr>
            <a:picLocks noChangeAspect="1"/>
          </p:cNvPicPr>
          <p:nvPr userDrawn="1"/>
        </p:nvPicPr>
        <p:blipFill rotWithShape="1">
          <a:blip r:embed="rId3">
            <a:extLst>
              <a:ext uri="{28A0092B-C50C-407E-A947-70E740481C1C}">
                <a14:useLocalDpi xmlns:a14="http://schemas.microsoft.com/office/drawing/2010/main" val="0"/>
              </a:ext>
            </a:extLst>
          </a:blip>
          <a:srcRect t="3751" b="25620"/>
          <a:stretch/>
        </p:blipFill>
        <p:spPr>
          <a:xfrm>
            <a:off x="0" y="-1"/>
            <a:ext cx="9144000" cy="4305553"/>
          </a:xfrm>
          <a:prstGeom prst="rect">
            <a:avLst/>
          </a:prstGeom>
        </p:spPr>
      </p:pic>
      <p:pic>
        <p:nvPicPr>
          <p:cNvPr id="9" name="Billede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436551" y="1551704"/>
            <a:ext cx="5816724" cy="1267656"/>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rugerdefineret layout">
    <p:spTree>
      <p:nvGrpSpPr>
        <p:cNvPr id="1" name=""/>
        <p:cNvGrpSpPr/>
        <p:nvPr/>
      </p:nvGrpSpPr>
      <p:grpSpPr>
        <a:xfrm>
          <a:off x="0" y="0"/>
          <a:ext cx="0" cy="0"/>
          <a:chOff x="0" y="0"/>
          <a:chExt cx="0" cy="0"/>
        </a:xfrm>
      </p:grpSpPr>
      <p:sp>
        <p:nvSpPr>
          <p:cNvPr id="6" name="Rektangel 5"/>
          <p:cNvSpPr/>
          <p:nvPr userDrawn="1"/>
        </p:nvSpPr>
        <p:spPr>
          <a:xfrm>
            <a:off x="0" y="0"/>
            <a:ext cx="9144000" cy="5143500"/>
          </a:xfrm>
          <a:prstGeom prst="rect">
            <a:avLst/>
          </a:prstGeom>
          <a:solidFill>
            <a:srgbClr val="F1F5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Rektangel 7"/>
          <p:cNvSpPr/>
          <p:nvPr userDrawn="1"/>
        </p:nvSpPr>
        <p:spPr>
          <a:xfrm>
            <a:off x="0" y="3936159"/>
            <a:ext cx="9144000" cy="442061"/>
          </a:xfrm>
          <a:prstGeom prst="rect">
            <a:avLst/>
          </a:prstGeom>
          <a:solidFill>
            <a:srgbClr val="253C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9" name="Billede 8"/>
          <p:cNvPicPr>
            <a:picLocks noChangeAspect="1"/>
          </p:cNvPicPr>
          <p:nvPr userDrawn="1"/>
        </p:nvPicPr>
        <p:blipFill rotWithShape="1">
          <a:blip r:embed="rId2">
            <a:extLst>
              <a:ext uri="{28A0092B-C50C-407E-A947-70E740481C1C}">
                <a14:useLocalDpi xmlns:a14="http://schemas.microsoft.com/office/drawing/2010/main" val="0"/>
              </a:ext>
            </a:extLst>
          </a:blip>
          <a:srcRect t="3751" b="25620"/>
          <a:stretch/>
        </p:blipFill>
        <p:spPr>
          <a:xfrm>
            <a:off x="0" y="-1"/>
            <a:ext cx="9144000" cy="4305553"/>
          </a:xfrm>
          <a:prstGeom prst="rect">
            <a:avLst/>
          </a:prstGeom>
        </p:spPr>
      </p:pic>
      <p:pic>
        <p:nvPicPr>
          <p:cNvPr id="10" name="Billed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36551" y="1551704"/>
            <a:ext cx="5816724" cy="1267656"/>
          </a:xfrm>
          <a:prstGeom prst="rect">
            <a:avLst/>
          </a:prstGeom>
        </p:spPr>
      </p:pic>
    </p:spTree>
    <p:extLst>
      <p:ext uri="{BB962C8B-B14F-4D97-AF65-F5344CB8AC3E}">
        <p14:creationId xmlns:p14="http://schemas.microsoft.com/office/powerpoint/2010/main" val="21075073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F98579D3-A814-994C-BB34-78C867326F13}" type="datetimeFigureOut">
              <a:rPr lang="da-DK" smtClean="0"/>
              <a:t>17-05-2022</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8B8AD6B1-EE34-EA4B-A9EE-A6EC0124E526}" type="slidenum">
              <a:rPr lang="da-DK" smtClean="0"/>
              <a:t>‹nr.›</a:t>
            </a:fld>
            <a:endParaRPr lang="da-DK"/>
          </a:p>
        </p:txBody>
      </p:sp>
      <p:pic>
        <p:nvPicPr>
          <p:cNvPr id="7" name="Billed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0273"/>
            <a:ext cx="9144000" cy="870155"/>
          </a:xfrm>
          <a:prstGeom prst="rect">
            <a:avLst/>
          </a:prstGeom>
        </p:spPr>
      </p:pic>
      <p:sp>
        <p:nvSpPr>
          <p:cNvPr id="8" name="Title 1"/>
          <p:cNvSpPr>
            <a:spLocks noGrp="1"/>
          </p:cNvSpPr>
          <p:nvPr>
            <p:ph type="ctrTitle" hasCustomPrompt="1"/>
          </p:nvPr>
        </p:nvSpPr>
        <p:spPr>
          <a:xfrm>
            <a:off x="1143000" y="1257783"/>
            <a:ext cx="6858000" cy="1790700"/>
          </a:xfrm>
        </p:spPr>
        <p:txBody>
          <a:bodyPr anchor="b">
            <a:normAutofit/>
          </a:bodyPr>
          <a:lstStyle>
            <a:lvl1pPr algn="ctr">
              <a:defRPr sz="4000" b="0" i="0">
                <a:latin typeface="Helvetica Light" charset="0"/>
                <a:ea typeface="Helvetica Light" charset="0"/>
                <a:cs typeface="Helvetica Light" charset="0"/>
              </a:defRPr>
            </a:lvl1pPr>
          </a:lstStyle>
          <a:p>
            <a:r>
              <a:rPr lang="da-DK" dirty="0"/>
              <a:t>KLIK FOR AT REDIGERE I MASTEREN</a:t>
            </a:r>
            <a:endParaRPr lang="en-US" dirty="0"/>
          </a:p>
        </p:txBody>
      </p:sp>
      <p:sp>
        <p:nvSpPr>
          <p:cNvPr id="9" name="Subtitle 2"/>
          <p:cNvSpPr>
            <a:spLocks noGrp="1"/>
          </p:cNvSpPr>
          <p:nvPr>
            <p:ph type="subTitle" idx="1"/>
          </p:nvPr>
        </p:nvSpPr>
        <p:spPr>
          <a:xfrm>
            <a:off x="1143000" y="3117539"/>
            <a:ext cx="6858000" cy="1241822"/>
          </a:xfrm>
        </p:spPr>
        <p:txBody>
          <a:bodyPr/>
          <a:lstStyle>
            <a:lvl1pPr marL="0" indent="0" algn="ctr">
              <a:buNone/>
              <a:defRPr sz="1800" b="0" i="0">
                <a:latin typeface="Helvetica Light" charset="0"/>
                <a:ea typeface="Helvetica Light" charset="0"/>
                <a:cs typeface="Helvetica Light"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dirty="0"/>
              <a:t>Klik for at redigere i master</a:t>
            </a: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le 1"/>
          <p:cNvSpPr>
            <a:spLocks noGrp="1"/>
          </p:cNvSpPr>
          <p:nvPr>
            <p:ph type="title"/>
          </p:nvPr>
        </p:nvSpPr>
        <p:spPr>
          <a:xfrm>
            <a:off x="628650" y="970242"/>
            <a:ext cx="7886700" cy="994172"/>
          </a:xfrm>
        </p:spPr>
        <p:txBody>
          <a:bodyPr/>
          <a:lstStyle>
            <a:lvl1pPr>
              <a:defRPr b="0" i="0">
                <a:latin typeface="Helvetica Light" charset="0"/>
                <a:ea typeface="Helvetica Light" charset="0"/>
                <a:cs typeface="Helvetica Light" charset="0"/>
              </a:defRPr>
            </a:lvl1pPr>
          </a:lstStyle>
          <a:p>
            <a:r>
              <a:rPr lang="da-DK" dirty="0"/>
              <a:t>Klik for at redigere i masteren</a:t>
            </a:r>
            <a:endParaRPr lang="en-US" dirty="0"/>
          </a:p>
        </p:txBody>
      </p:sp>
      <p:sp>
        <p:nvSpPr>
          <p:cNvPr id="3" name="Content Placeholder 2"/>
          <p:cNvSpPr>
            <a:spLocks noGrp="1"/>
          </p:cNvSpPr>
          <p:nvPr>
            <p:ph idx="1"/>
          </p:nvPr>
        </p:nvSpPr>
        <p:spPr>
          <a:xfrm>
            <a:off x="628650" y="2065617"/>
            <a:ext cx="7886700" cy="2639607"/>
          </a:xfrm>
        </p:spPr>
        <p:txBody>
          <a:bodyPr/>
          <a:lstStyle>
            <a:lvl1pPr>
              <a:defRPr b="0" i="0">
                <a:latin typeface="Helvetica Light" charset="0"/>
                <a:ea typeface="Helvetica Light" charset="0"/>
                <a:cs typeface="Helvetica Light" charset="0"/>
              </a:defRPr>
            </a:lvl1pPr>
            <a:lvl2pPr>
              <a:defRPr b="0" i="0">
                <a:latin typeface="Helvetica Light" charset="0"/>
                <a:ea typeface="Helvetica Light" charset="0"/>
                <a:cs typeface="Helvetica Light" charset="0"/>
              </a:defRPr>
            </a:lvl2pPr>
            <a:lvl3pPr>
              <a:defRPr b="0" i="0">
                <a:latin typeface="Helvetica Light" charset="0"/>
                <a:ea typeface="Helvetica Light" charset="0"/>
                <a:cs typeface="Helvetica Light" charset="0"/>
              </a:defRPr>
            </a:lvl3pPr>
            <a:lvl4pPr>
              <a:defRPr b="0" i="0">
                <a:latin typeface="Helvetica Light" charset="0"/>
                <a:ea typeface="Helvetica Light" charset="0"/>
                <a:cs typeface="Helvetica Light" charset="0"/>
              </a:defRPr>
            </a:lvl4pPr>
            <a:lvl5pPr>
              <a:defRPr b="0" i="0">
                <a:latin typeface="Helvetica Light" charset="0"/>
                <a:ea typeface="Helvetica Light" charset="0"/>
                <a:cs typeface="Helvetica Light" charset="0"/>
              </a:defRPr>
            </a:lvl5p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endParaRPr lang="en-US" dirty="0"/>
          </a:p>
        </p:txBody>
      </p:sp>
      <p:sp>
        <p:nvSpPr>
          <p:cNvPr id="4" name="Date Placeholder 3"/>
          <p:cNvSpPr>
            <a:spLocks noGrp="1"/>
          </p:cNvSpPr>
          <p:nvPr>
            <p:ph type="dt" sz="half" idx="10"/>
          </p:nvPr>
        </p:nvSpPr>
        <p:spPr/>
        <p:txBody>
          <a:bodyPr/>
          <a:lstStyle/>
          <a:p>
            <a:fld id="{F98579D3-A814-994C-BB34-78C867326F13}" type="datetimeFigureOut">
              <a:rPr lang="da-DK" smtClean="0"/>
              <a:t>17-05-2022</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8B8AD6B1-EE34-EA4B-A9EE-A6EC0124E526}" type="slidenum">
              <a:rPr lang="da-DK" smtClean="0"/>
              <a:t>‹nr.›</a:t>
            </a:fld>
            <a:endParaRPr lang="da-DK"/>
          </a:p>
        </p:txBody>
      </p:sp>
      <p:pic>
        <p:nvPicPr>
          <p:cNvPr id="7" name="Billed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0273"/>
            <a:ext cx="9144000" cy="870155"/>
          </a:xfrm>
          <a:prstGeom prst="rect">
            <a:avLst/>
          </a:prstGeom>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le 1"/>
          <p:cNvSpPr>
            <a:spLocks noGrp="1"/>
          </p:cNvSpPr>
          <p:nvPr>
            <p:ph type="title"/>
          </p:nvPr>
        </p:nvSpPr>
        <p:spPr>
          <a:xfrm>
            <a:off x="628650" y="970241"/>
            <a:ext cx="7886700" cy="994172"/>
          </a:xfrm>
        </p:spPr>
        <p:txBody>
          <a:bodyPr/>
          <a:lstStyle/>
          <a:p>
            <a:r>
              <a:rPr lang="da-DK"/>
              <a:t>Klik for at redigere i masteren</a:t>
            </a:r>
            <a:endParaRPr lang="en-US" dirty="0"/>
          </a:p>
        </p:txBody>
      </p:sp>
      <p:sp>
        <p:nvSpPr>
          <p:cNvPr id="3" name="Content Placeholder 2"/>
          <p:cNvSpPr>
            <a:spLocks noGrp="1"/>
          </p:cNvSpPr>
          <p:nvPr>
            <p:ph sz="half" idx="1"/>
          </p:nvPr>
        </p:nvSpPr>
        <p:spPr>
          <a:xfrm>
            <a:off x="628650" y="2065616"/>
            <a:ext cx="3886200" cy="2603274"/>
          </a:xfrm>
        </p:spPr>
        <p:txBody>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endParaRPr lang="en-US" dirty="0"/>
          </a:p>
        </p:txBody>
      </p:sp>
      <p:sp>
        <p:nvSpPr>
          <p:cNvPr id="4" name="Content Placeholder 3"/>
          <p:cNvSpPr>
            <a:spLocks noGrp="1"/>
          </p:cNvSpPr>
          <p:nvPr>
            <p:ph sz="half" idx="2"/>
          </p:nvPr>
        </p:nvSpPr>
        <p:spPr>
          <a:xfrm>
            <a:off x="4629150" y="2065616"/>
            <a:ext cx="3886200" cy="2603274"/>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5" name="Date Placeholder 4"/>
          <p:cNvSpPr>
            <a:spLocks noGrp="1"/>
          </p:cNvSpPr>
          <p:nvPr>
            <p:ph type="dt" sz="half" idx="10"/>
          </p:nvPr>
        </p:nvSpPr>
        <p:spPr/>
        <p:txBody>
          <a:bodyPr/>
          <a:lstStyle/>
          <a:p>
            <a:fld id="{F98579D3-A814-994C-BB34-78C867326F13}" type="datetimeFigureOut">
              <a:rPr lang="da-DK" smtClean="0"/>
              <a:t>17-05-2022</a:t>
            </a:fld>
            <a:endParaRPr lang="da-DK"/>
          </a:p>
        </p:txBody>
      </p:sp>
      <p:sp>
        <p:nvSpPr>
          <p:cNvPr id="6" name="Footer Placeholder 5"/>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8B8AD6B1-EE34-EA4B-A9EE-A6EC0124E526}" type="slidenum">
              <a:rPr lang="da-DK" smtClean="0"/>
              <a:t>‹nr.›</a:t>
            </a:fld>
            <a:endParaRPr lang="da-DK"/>
          </a:p>
        </p:txBody>
      </p:sp>
      <p:pic>
        <p:nvPicPr>
          <p:cNvPr id="8" name="Billed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0273"/>
            <a:ext cx="9144000" cy="870155"/>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2.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1382F14-CA21-4C1D-9FAE-ABE789FF2CCB}"/>
              </a:ext>
            </a:extLst>
          </p:cNvPr>
          <p:cNvGraphicFramePr>
            <a:graphicFrameLocks noChangeAspect="1"/>
          </p:cNvGraphicFramePr>
          <p:nvPr userDrawn="1">
            <p:custDataLst>
              <p:tags r:id="rId17"/>
            </p:custDataLst>
            <p:extLst>
              <p:ext uri="{D42A27DB-BD31-4B8C-83A1-F6EECF244321}">
                <p14:modId xmlns:p14="http://schemas.microsoft.com/office/powerpoint/2010/main" val="139928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95" imgH="396" progId="TCLayout.ActiveDocument.1">
                  <p:embed/>
                </p:oleObj>
              </mc:Choice>
              <mc:Fallback>
                <p:oleObj name="think-cell Slide" r:id="rId18" imgW="395" imgH="396" progId="TCLayout.ActiveDocument.1">
                  <p:embed/>
                  <p:pic>
                    <p:nvPicPr>
                      <p:cNvPr id="9" name="Object 8" hidden="1">
                        <a:extLst>
                          <a:ext uri="{FF2B5EF4-FFF2-40B4-BE49-F238E27FC236}">
                            <a16:creationId xmlns:a16="http://schemas.microsoft.com/office/drawing/2014/main" id="{41382F14-CA21-4C1D-9FAE-ABE789FF2CCB}"/>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1459" y="982353"/>
            <a:ext cx="7886700" cy="994172"/>
          </a:xfrm>
          <a:prstGeom prst="rect">
            <a:avLst/>
          </a:prstGeom>
        </p:spPr>
        <p:txBody>
          <a:bodyPr vert="horz" lIns="91440" tIns="45720" rIns="91440" bIns="45720" rtlCol="0" anchor="ctr">
            <a:normAutofit/>
          </a:bodyPr>
          <a:lstStyle/>
          <a:p>
            <a:r>
              <a:rPr lang="da-DK" dirty="0"/>
              <a:t>Klik for at redigere i masteren</a:t>
            </a:r>
            <a:endParaRPr lang="en-US" dirty="0"/>
          </a:p>
        </p:txBody>
      </p:sp>
      <p:sp>
        <p:nvSpPr>
          <p:cNvPr id="3" name="Text Placeholder 2"/>
          <p:cNvSpPr>
            <a:spLocks noGrp="1"/>
          </p:cNvSpPr>
          <p:nvPr>
            <p:ph type="body" idx="1"/>
          </p:nvPr>
        </p:nvSpPr>
        <p:spPr>
          <a:xfrm>
            <a:off x="621459" y="2077728"/>
            <a:ext cx="7886700" cy="2591162"/>
          </a:xfrm>
          <a:prstGeom prst="rect">
            <a:avLst/>
          </a:prstGeom>
        </p:spPr>
        <p:txBody>
          <a:bodyPr vert="horz" lIns="91440" tIns="45720" rIns="91440" bIns="45720" rtlCol="0">
            <a:normAutofit/>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F98579D3-A814-994C-BB34-78C867326F13}" type="datetimeFigureOut">
              <a:rPr lang="da-DK" smtClean="0"/>
              <a:t>17-05-2022</a:t>
            </a:fld>
            <a:endParaRPr lang="da-DK"/>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da-DK"/>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8B8AD6B1-EE34-EA4B-A9EE-A6EC0124E526}" type="slidenum">
              <a:rPr lang="da-DK" smtClean="0"/>
              <a:t>‹nr.›</a:t>
            </a:fld>
            <a:endParaRPr lang="da-DK"/>
          </a:p>
        </p:txBody>
      </p:sp>
      <p:pic>
        <p:nvPicPr>
          <p:cNvPr id="7" name="Billede 6"/>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0" y="-20273"/>
            <a:ext cx="9144000" cy="870155"/>
          </a:xfrm>
          <a:prstGeom prst="rect">
            <a:avLst/>
          </a:prstGeom>
        </p:spPr>
      </p:pic>
    </p:spTree>
    <p:extLst>
      <p:ext uri="{BB962C8B-B14F-4D97-AF65-F5344CB8AC3E}">
        <p14:creationId xmlns:p14="http://schemas.microsoft.com/office/powerpoint/2010/main" val="744718865"/>
      </p:ext>
    </p:extLst>
  </p:cSld>
  <p:clrMap bg1="lt1" tx1="dk1" bg2="lt2" tx2="dk2" accent1="accent1" accent2="accent2" accent3="accent3" accent4="accent4" accent5="accent5" accent6="accent6" hlink="hlink" folHlink="folHlink"/>
  <p:sldLayoutIdLst>
    <p:sldLayoutId id="2147483667" r:id="rId1"/>
    <p:sldLayoutId id="2147483674" r:id="rId2"/>
    <p:sldLayoutId id="2147483673" r:id="rId3"/>
    <p:sldLayoutId id="2147483675" r:id="rId4"/>
    <p:sldLayoutId id="2147483676" r:id="rId5"/>
    <p:sldLayoutId id="2147483677" r:id="rId6"/>
    <p:sldLayoutId id="2147483661" r:id="rId7"/>
    <p:sldLayoutId id="2147483662" r:id="rId8"/>
    <p:sldLayoutId id="2147483664" r:id="rId9"/>
    <p:sldLayoutId id="2147483669" r:id="rId10"/>
    <p:sldLayoutId id="2147483672" r:id="rId11"/>
    <p:sldLayoutId id="2147483679" r:id="rId12"/>
    <p:sldLayoutId id="2147483680" r:id="rId13"/>
    <p:sldLayoutId id="2147483681" r:id="rId14"/>
    <p:sldLayoutId id="2147483685" r:id="rId15"/>
  </p:sldLayoutIdLst>
  <p:txStyles>
    <p:titleStyle>
      <a:lvl1pPr algn="l" defTabSz="685800" rtl="0" eaLnBrk="1" latinLnBrk="0" hangingPunct="1">
        <a:lnSpc>
          <a:spcPct val="90000"/>
        </a:lnSpc>
        <a:spcBef>
          <a:spcPct val="0"/>
        </a:spcBef>
        <a:buNone/>
        <a:defRPr sz="3300" b="0" i="0" kern="1200">
          <a:solidFill>
            <a:schemeClr val="tx1"/>
          </a:solidFill>
          <a:latin typeface="Helvetica Light" charset="0"/>
          <a:ea typeface="Helvetica Light" charset="0"/>
          <a:cs typeface="Helvetica Light"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Helvetica Light" charset="0"/>
          <a:ea typeface="Helvetica Light" charset="0"/>
          <a:cs typeface="Helvetica Light"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Helvetica Light" charset="0"/>
          <a:ea typeface="Helvetica Light" charset="0"/>
          <a:cs typeface="Helvetica Light"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Helvetica Light" charset="0"/>
          <a:ea typeface="Helvetica Light" charset="0"/>
          <a:cs typeface="Helvetica Light"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Helvetica Light" charset="0"/>
          <a:ea typeface="Helvetica Light" charset="0"/>
          <a:cs typeface="Helvetica Light"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Helvetica Light" charset="0"/>
          <a:ea typeface="Helvetica Light" charset="0"/>
          <a:cs typeface="Helvetica Light"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8.png"/><Relationship Id="rId4" Type="http://schemas.openxmlformats.org/officeDocument/2006/relationships/hyperlink" Target="https://twitter.com/BrianVad"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28.jpeg"/><Relationship Id="rId1" Type="http://schemas.openxmlformats.org/officeDocument/2006/relationships/slideLayout" Target="../slideLayouts/slideLayout12.xml"/><Relationship Id="rId5" Type="http://schemas.openxmlformats.org/officeDocument/2006/relationships/image" Target="../media/image30.emf"/><Relationship Id="rId4" Type="http://schemas.openxmlformats.org/officeDocument/2006/relationships/image" Target="../media/image29.png"/></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8.png"/><Relationship Id="rId1" Type="http://schemas.openxmlformats.org/officeDocument/2006/relationships/slideLayout" Target="../slideLayouts/slideLayout8.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Layout" Target="../slideLayouts/slideLayout12.xml"/><Relationship Id="rId6" Type="http://schemas.openxmlformats.org/officeDocument/2006/relationships/image" Target="../media/image39.jpeg"/><Relationship Id="rId5" Type="http://schemas.openxmlformats.org/officeDocument/2006/relationships/image" Target="../media/image38.png"/><Relationship Id="rId4" Type="http://schemas.openxmlformats.org/officeDocument/2006/relationships/image" Target="../media/image37.png"/></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0.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8.xml"/><Relationship Id="rId6" Type="http://schemas.openxmlformats.org/officeDocument/2006/relationships/image" Target="../media/image4.png"/><Relationship Id="rId5" Type="http://schemas.openxmlformats.org/officeDocument/2006/relationships/image" Target="../media/image44.png"/><Relationship Id="rId4" Type="http://schemas.openxmlformats.org/officeDocument/2006/relationships/image" Target="../media/image43.png"/></Relationships>
</file>

<file path=ppt/slides/_rels/slide1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8.xml"/><Relationship Id="rId4" Type="http://schemas.openxmlformats.org/officeDocument/2006/relationships/image" Target="../media/image44.png"/></Relationships>
</file>

<file path=ppt/slides/_rels/slide1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9.pn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gif"/><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eg"/><Relationship Id="rId1" Type="http://schemas.openxmlformats.org/officeDocument/2006/relationships/slideLayout" Target="../slideLayouts/slideLayout8.xml"/><Relationship Id="rId4" Type="http://schemas.openxmlformats.org/officeDocument/2006/relationships/image" Target="../media/image44.png"/></Relationships>
</file>

<file path=ppt/slides/_rels/slide2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jpeg"/><Relationship Id="rId1" Type="http://schemas.openxmlformats.org/officeDocument/2006/relationships/slideLayout" Target="../slideLayouts/slideLayout8.xml"/><Relationship Id="rId4" Type="http://schemas.openxmlformats.org/officeDocument/2006/relationships/image" Target="../media/image44.png"/></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7.jpeg"/><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44.png"/><Relationship Id="rId2" Type="http://schemas.openxmlformats.org/officeDocument/2006/relationships/diagramData" Target="../diagrams/data1.xml"/><Relationship Id="rId1" Type="http://schemas.openxmlformats.org/officeDocument/2006/relationships/slideLayout" Target="../slideLayouts/slideLayout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58.png"/><Relationship Id="rId1" Type="http://schemas.openxmlformats.org/officeDocument/2006/relationships/slideLayout" Target="../slideLayouts/slideLayout8.xml"/><Relationship Id="rId4" Type="http://schemas.openxmlformats.org/officeDocument/2006/relationships/image" Target="../media/image44.png"/></Relationships>
</file>

<file path=ppt/slides/_rels/slide2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9.jpeg"/><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diagramLayout" Target="../diagrams/layout2.xml"/><Relationship Id="rId7" Type="http://schemas.openxmlformats.org/officeDocument/2006/relationships/image" Target="../media/image60.jpeg"/><Relationship Id="rId2" Type="http://schemas.openxmlformats.org/officeDocument/2006/relationships/diagramData" Target="../diagrams/data2.xml"/><Relationship Id="rId1" Type="http://schemas.openxmlformats.org/officeDocument/2006/relationships/slideLayout" Target="../slideLayouts/slideLayout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9.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Layout" Target="../slideLayouts/slideLayout8.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png"/></Relationships>
</file>

<file path=ppt/slides/_rels/slide3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hyperlink" Target="https://energymaps.plan.aau.dk/" TargetMode="External"/><Relationship Id="rId1" Type="http://schemas.openxmlformats.org/officeDocument/2006/relationships/slideLayout" Target="../slideLayouts/slideLayout8.xml"/><Relationship Id="rId4" Type="http://schemas.openxmlformats.org/officeDocument/2006/relationships/image" Target="../media/image44.png"/></Relationships>
</file>

<file path=ppt/slides/_rels/slide3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8.xml"/><Relationship Id="rId4" Type="http://schemas.openxmlformats.org/officeDocument/2006/relationships/image" Target="../media/image44.png"/></Relationships>
</file>

<file path=ppt/slides/_rels/slide3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8.xml"/><Relationship Id="rId4" Type="http://schemas.openxmlformats.org/officeDocument/2006/relationships/image" Target="../media/image44.png"/></Relationships>
</file>

<file path=ppt/slides/_rels/slide33.xml.rels><?xml version="1.0" encoding="UTF-8" standalone="yes"?>
<Relationships xmlns="http://schemas.openxmlformats.org/package/2006/relationships"><Relationship Id="rId3" Type="http://schemas.openxmlformats.org/officeDocument/2006/relationships/hyperlink" Target="http://www.energyplan.eu/varmeplan" TargetMode="External"/><Relationship Id="rId2" Type="http://schemas.openxmlformats.org/officeDocument/2006/relationships/hyperlink" Target="https://energymaps.plan.aau.dk/" TargetMode="External"/><Relationship Id="rId1" Type="http://schemas.openxmlformats.org/officeDocument/2006/relationships/slideLayout" Target="../slideLayouts/slideLayout8.xml"/><Relationship Id="rId4" Type="http://schemas.openxmlformats.org/officeDocument/2006/relationships/image" Target="../media/image66.png"/></Relationships>
</file>

<file path=ppt/slides/_rels/slide34.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notesSlide" Target="../notesSlides/notesSlide2.xml"/><Relationship Id="rId7" Type="http://schemas.openxmlformats.org/officeDocument/2006/relationships/image" Target="../media/image68.png"/><Relationship Id="rId2" Type="http://schemas.openxmlformats.org/officeDocument/2006/relationships/slideLayout" Target="../slideLayouts/slideLayout14.xml"/><Relationship Id="rId1" Type="http://schemas.openxmlformats.org/officeDocument/2006/relationships/tags" Target="../tags/tag3.xml"/><Relationship Id="rId6" Type="http://schemas.openxmlformats.org/officeDocument/2006/relationships/image" Target="../media/image67.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5.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notesSlide" Target="../notesSlides/notesSlide3.xml"/><Relationship Id="rId7" Type="http://schemas.openxmlformats.org/officeDocument/2006/relationships/image" Target="../media/image71.png"/><Relationship Id="rId2" Type="http://schemas.openxmlformats.org/officeDocument/2006/relationships/slideLayout" Target="../slideLayouts/slideLayout14.xml"/><Relationship Id="rId1" Type="http://schemas.openxmlformats.org/officeDocument/2006/relationships/tags" Target="../tags/tag4.xml"/><Relationship Id="rId6" Type="http://schemas.openxmlformats.org/officeDocument/2006/relationships/image" Target="../media/image70.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68.png"/><Relationship Id="rId2" Type="http://schemas.openxmlformats.org/officeDocument/2006/relationships/slideLayout" Target="../slideLayouts/slideLayout14.xml"/><Relationship Id="rId1" Type="http://schemas.openxmlformats.org/officeDocument/2006/relationships/tags" Target="../tags/tag5.xml"/><Relationship Id="rId6" Type="http://schemas.openxmlformats.org/officeDocument/2006/relationships/image" Target="../media/image72.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4.xml"/><Relationship Id="rId1" Type="http://schemas.openxmlformats.org/officeDocument/2006/relationships/tags" Target="../tags/tag6.xml"/><Relationship Id="rId6" Type="http://schemas.openxmlformats.org/officeDocument/2006/relationships/image" Target="../media/image73.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4.xml"/><Relationship Id="rId1" Type="http://schemas.openxmlformats.org/officeDocument/2006/relationships/tags" Target="../tags/tag7.xml"/><Relationship Id="rId5" Type="http://schemas.openxmlformats.org/officeDocument/2006/relationships/image" Target="../media/image74.pn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8.xml"/><Relationship Id="rId4" Type="http://schemas.openxmlformats.org/officeDocument/2006/relationships/image" Target="../media/image77.png"/></Relationships>
</file>

<file path=ppt/slides/_rels/slide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28.jpeg"/><Relationship Id="rId1" Type="http://schemas.openxmlformats.org/officeDocument/2006/relationships/slideLayout" Target="../slideLayouts/slideLayout8.xml"/><Relationship Id="rId6" Type="http://schemas.openxmlformats.org/officeDocument/2006/relationships/image" Target="../media/image82.jpeg"/><Relationship Id="rId5" Type="http://schemas.openxmlformats.org/officeDocument/2006/relationships/image" Target="../media/image4.png"/><Relationship Id="rId4" Type="http://schemas.openxmlformats.org/officeDocument/2006/relationships/image" Target="../media/image68.png"/></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4.xml"/><Relationship Id="rId1" Type="http://schemas.openxmlformats.org/officeDocument/2006/relationships/tags" Target="../tags/tag8.xml"/><Relationship Id="rId6" Type="http://schemas.openxmlformats.org/officeDocument/2006/relationships/image" Target="../media/image83.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4.xml"/><Relationship Id="rId1" Type="http://schemas.openxmlformats.org/officeDocument/2006/relationships/tags" Target="../tags/tag9.xml"/><Relationship Id="rId5" Type="http://schemas.openxmlformats.org/officeDocument/2006/relationships/image" Target="../media/image84.png"/><Relationship Id="rId4" Type="http://schemas.openxmlformats.org/officeDocument/2006/relationships/image" Target="../media/image1.emf"/></Relationships>
</file>

<file path=ppt/slides/_rels/slide52.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96.png"/><Relationship Id="rId3" Type="http://schemas.openxmlformats.org/officeDocument/2006/relationships/image" Target="../media/image86.jpeg"/><Relationship Id="rId7" Type="http://schemas.openxmlformats.org/officeDocument/2006/relationships/image" Target="../media/image90.jpeg"/><Relationship Id="rId12" Type="http://schemas.openxmlformats.org/officeDocument/2006/relationships/image" Target="../media/image95.jpeg"/><Relationship Id="rId17" Type="http://schemas.openxmlformats.org/officeDocument/2006/relationships/image" Target="../media/image34.png"/><Relationship Id="rId2" Type="http://schemas.openxmlformats.org/officeDocument/2006/relationships/image" Target="../media/image85.jpeg"/><Relationship Id="rId16" Type="http://schemas.openxmlformats.org/officeDocument/2006/relationships/image" Target="../media/image98.png"/><Relationship Id="rId1" Type="http://schemas.openxmlformats.org/officeDocument/2006/relationships/slideLayout" Target="../slideLayouts/slideLayout8.xml"/><Relationship Id="rId6" Type="http://schemas.openxmlformats.org/officeDocument/2006/relationships/image" Target="../media/image89.jpeg"/><Relationship Id="rId11" Type="http://schemas.openxmlformats.org/officeDocument/2006/relationships/image" Target="../media/image94.jpeg"/><Relationship Id="rId5" Type="http://schemas.openxmlformats.org/officeDocument/2006/relationships/image" Target="../media/image88.jpeg"/><Relationship Id="rId15" Type="http://schemas.openxmlformats.org/officeDocument/2006/relationships/image" Target="../media/image43.png"/><Relationship Id="rId10" Type="http://schemas.openxmlformats.org/officeDocument/2006/relationships/image" Target="../media/image93.jpeg"/><Relationship Id="rId4" Type="http://schemas.openxmlformats.org/officeDocument/2006/relationships/image" Target="../media/image87.jpeg"/><Relationship Id="rId9" Type="http://schemas.openxmlformats.org/officeDocument/2006/relationships/image" Target="../media/image92.jpeg"/><Relationship Id="rId14" Type="http://schemas.openxmlformats.org/officeDocument/2006/relationships/image" Target="../media/image97.jpeg"/></Relationships>
</file>

<file path=ppt/slides/_rels/slide53.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image" Target="../media/image24.png"/><Relationship Id="rId1" Type="http://schemas.openxmlformats.org/officeDocument/2006/relationships/slideLayout" Target="../slideLayouts/slideLayout9.xml"/><Relationship Id="rId4" Type="http://schemas.openxmlformats.org/officeDocument/2006/relationships/image" Target="../media/image101.jpeg"/></Relationships>
</file>

<file path=ppt/slides/_rels/slide55.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34.png"/><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34.png"/><Relationship Id="rId1" Type="http://schemas.openxmlformats.org/officeDocument/2006/relationships/slideLayout" Target="../slideLayouts/slideLayout8.xml"/><Relationship Id="rId4" Type="http://schemas.openxmlformats.org/officeDocument/2006/relationships/image" Target="../media/image105.png"/></Relationships>
</file>

<file path=ppt/slides/_rels/slide5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34.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82300" y="2952365"/>
            <a:ext cx="6432896" cy="1208023"/>
          </a:xfrm>
          <a:prstGeom prst="rect">
            <a:avLst/>
          </a:prstGeom>
          <a:noFill/>
        </p:spPr>
        <p:txBody>
          <a:bodyPr wrap="square" rtlCol="0">
            <a:spAutoFit/>
          </a:bodyPr>
          <a:lstStyle/>
          <a:p>
            <a:r>
              <a:rPr lang="da-DK" sz="1600" dirty="0"/>
              <a:t>Grøn omstilling mod 2030 og Energikrisen</a:t>
            </a:r>
            <a:endParaRPr lang="da-DK" sz="1600" b="1" i="1" dirty="0"/>
          </a:p>
          <a:p>
            <a:r>
              <a:rPr lang="da-DK" sz="1600" b="1" i="1" dirty="0"/>
              <a:t>Brian Vad Mathiesen, Aalborg Universitet</a:t>
            </a:r>
          </a:p>
          <a:p>
            <a:endParaRPr lang="da-DK" b="1" i="1" dirty="0"/>
          </a:p>
          <a:p>
            <a:endParaRPr lang="da-DK" b="1" i="1" dirty="0"/>
          </a:p>
          <a:p>
            <a:r>
              <a:rPr lang="da-DK" i="1" dirty="0"/>
              <a:t>Metroterm, Middelfart, 17. maj 2022</a:t>
            </a:r>
          </a:p>
        </p:txBody>
      </p:sp>
      <p:grpSp>
        <p:nvGrpSpPr>
          <p:cNvPr id="4" name="Group 7"/>
          <p:cNvGrpSpPr/>
          <p:nvPr/>
        </p:nvGrpSpPr>
        <p:grpSpPr>
          <a:xfrm>
            <a:off x="7619999" y="4754959"/>
            <a:ext cx="1851892" cy="300082"/>
            <a:chOff x="3815196" y="5283692"/>
            <a:chExt cx="1851892" cy="300082"/>
          </a:xfrm>
        </p:grpSpPr>
        <p:pic>
          <p:nvPicPr>
            <p:cNvPr id="5" name="Picture 9" descr="Billedresultat for twitter link"/>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15196" y="5283692"/>
              <a:ext cx="33972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1"/>
            <p:cNvSpPr txBox="1"/>
            <p:nvPr/>
          </p:nvSpPr>
          <p:spPr>
            <a:xfrm>
              <a:off x="4154920" y="5283692"/>
              <a:ext cx="1512168" cy="300082"/>
            </a:xfrm>
            <a:prstGeom prst="rect">
              <a:avLst/>
            </a:prstGeom>
            <a:noFill/>
          </p:spPr>
          <p:txBody>
            <a:bodyPr wrap="square">
              <a:spAutoFit/>
            </a:bodyPr>
            <a:lstStyle/>
            <a:p>
              <a:pPr>
                <a:defRPr/>
              </a:pPr>
              <a:r>
                <a:rPr lang="da-DK" dirty="0">
                  <a:hlinkClick r:id="rId4"/>
                </a:rPr>
                <a:t>@</a:t>
              </a:r>
              <a:r>
                <a:rPr lang="da-DK" dirty="0" err="1">
                  <a:hlinkClick r:id="rId4"/>
                </a:rPr>
                <a:t>BrianVad</a:t>
              </a:r>
              <a:endParaRPr lang="da-DK" sz="1400" dirty="0">
                <a:latin typeface="Arial" panose="020B0604020202020204" pitchFamily="34" charset="0"/>
                <a:cs typeface="Arial" panose="020B0604020202020204" pitchFamily="34" charset="0"/>
              </a:endParaRPr>
            </a:p>
          </p:txBody>
        </p:sp>
      </p:grpSp>
      <p:pic>
        <p:nvPicPr>
          <p:cNvPr id="7"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b="16696"/>
          <a:stretch/>
        </p:blipFill>
        <p:spPr bwMode="auto">
          <a:xfrm>
            <a:off x="5360131" y="41295"/>
            <a:ext cx="3710127" cy="16935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94501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descr="Energy prices according to type of energy used">
            <a:extLst>
              <a:ext uri="{FF2B5EF4-FFF2-40B4-BE49-F238E27FC236}">
                <a16:creationId xmlns:a16="http://schemas.microsoft.com/office/drawing/2014/main" id="{684972F1-9C12-4BB4-B95C-FD4FCEF60DDA}"/>
              </a:ext>
            </a:extLst>
          </p:cNvPr>
          <p:cNvPicPr>
            <a:picLocks noGrp="1" noChangeAspect="1" noChangeArrowheads="1"/>
          </p:cNvPicPr>
          <p:nvPr>
            <p:ph sz="half" idx="2"/>
          </p:nvPr>
        </p:nvPicPr>
        <p:blipFill>
          <a:blip r:embed="rId2" cstate="print">
            <a:extLst>
              <a:ext uri="{28A0092B-C50C-407E-A947-70E740481C1C}">
                <a14:useLocalDpi xmlns:a14="http://schemas.microsoft.com/office/drawing/2010/main" val="0"/>
              </a:ext>
            </a:extLst>
          </a:blip>
          <a:srcRect/>
          <a:stretch>
            <a:fillRect/>
          </a:stretch>
        </p:blipFill>
        <p:spPr bwMode="auto">
          <a:xfrm>
            <a:off x="5492978" y="932640"/>
            <a:ext cx="3559997" cy="4138497"/>
          </a:xfrm>
          <a:prstGeom prst="rect">
            <a:avLst/>
          </a:prstGeom>
          <a:noFill/>
          <a:extLst>
            <a:ext uri="{909E8E84-426E-40DD-AFC4-6F175D3DCCD1}">
              <a14:hiddenFill xmlns:a14="http://schemas.microsoft.com/office/drawing/2010/main">
                <a:solidFill>
                  <a:srgbClr val="FFFFFF"/>
                </a:solidFill>
              </a14:hiddenFill>
            </a:ext>
          </a:extLst>
        </p:spPr>
      </p:pic>
      <p:pic>
        <p:nvPicPr>
          <p:cNvPr id="10242" name="Picture 2">
            <a:extLst>
              <a:ext uri="{FF2B5EF4-FFF2-40B4-BE49-F238E27FC236}">
                <a16:creationId xmlns:a16="http://schemas.microsoft.com/office/drawing/2014/main" id="{6277A104-FD99-4EDE-9BA2-4F2C8AA5CC6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025" y="888086"/>
            <a:ext cx="4858278" cy="41830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75282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159300-AB01-4032-8782-8B4D7A9A3D1A}"/>
              </a:ext>
            </a:extLst>
          </p:cNvPr>
          <p:cNvSpPr>
            <a:spLocks noGrp="1"/>
          </p:cNvSpPr>
          <p:nvPr>
            <p:ph type="title"/>
          </p:nvPr>
        </p:nvSpPr>
        <p:spPr>
          <a:xfrm>
            <a:off x="214209" y="680792"/>
            <a:ext cx="8600869" cy="994172"/>
          </a:xfrm>
        </p:spPr>
        <p:txBody>
          <a:bodyPr>
            <a:normAutofit fontScale="90000"/>
          </a:bodyPr>
          <a:lstStyle/>
          <a:p>
            <a:r>
              <a:rPr lang="en-US" dirty="0"/>
              <a:t>I Danmark </a:t>
            </a:r>
            <a:r>
              <a:rPr lang="en-US" dirty="0" err="1"/>
              <a:t>udgør</a:t>
            </a:r>
            <a:r>
              <a:rPr lang="en-US" dirty="0"/>
              <a:t> </a:t>
            </a:r>
            <a:r>
              <a:rPr lang="en-US" dirty="0" err="1"/>
              <a:t>naturgas</a:t>
            </a:r>
            <a:r>
              <a:rPr lang="en-US" dirty="0"/>
              <a:t> 16% </a:t>
            </a:r>
            <a:r>
              <a:rPr lang="en-US" dirty="0" err="1"/>
              <a:t>af</a:t>
            </a:r>
            <a:r>
              <a:rPr lang="en-US" dirty="0"/>
              <a:t> </a:t>
            </a:r>
            <a:r>
              <a:rPr lang="en-US" dirty="0" err="1"/>
              <a:t>energiforbruget</a:t>
            </a:r>
            <a:endParaRPr lang="da-DK" dirty="0"/>
          </a:p>
        </p:txBody>
      </p:sp>
      <p:pic>
        <p:nvPicPr>
          <p:cNvPr id="7" name="Billede 6">
            <a:extLst>
              <a:ext uri="{FF2B5EF4-FFF2-40B4-BE49-F238E27FC236}">
                <a16:creationId xmlns:a16="http://schemas.microsoft.com/office/drawing/2014/main" id="{5123BB40-1258-45A0-A84B-30F058F654F0}"/>
              </a:ext>
            </a:extLst>
          </p:cNvPr>
          <p:cNvPicPr>
            <a:picLocks noChangeAspect="1"/>
          </p:cNvPicPr>
          <p:nvPr/>
        </p:nvPicPr>
        <p:blipFill>
          <a:blip r:embed="rId2"/>
          <a:stretch>
            <a:fillRect/>
          </a:stretch>
        </p:blipFill>
        <p:spPr>
          <a:xfrm>
            <a:off x="28847" y="1597953"/>
            <a:ext cx="4622899" cy="2203484"/>
          </a:xfrm>
          <a:prstGeom prst="rect">
            <a:avLst/>
          </a:prstGeom>
        </p:spPr>
      </p:pic>
      <p:pic>
        <p:nvPicPr>
          <p:cNvPr id="9" name="Billede 8">
            <a:extLst>
              <a:ext uri="{FF2B5EF4-FFF2-40B4-BE49-F238E27FC236}">
                <a16:creationId xmlns:a16="http://schemas.microsoft.com/office/drawing/2014/main" id="{838E1796-27CB-4864-BBBC-B27C61E74B2D}"/>
              </a:ext>
            </a:extLst>
          </p:cNvPr>
          <p:cNvPicPr>
            <a:picLocks noChangeAspect="1"/>
          </p:cNvPicPr>
          <p:nvPr/>
        </p:nvPicPr>
        <p:blipFill>
          <a:blip r:embed="rId3"/>
          <a:stretch>
            <a:fillRect/>
          </a:stretch>
        </p:blipFill>
        <p:spPr>
          <a:xfrm>
            <a:off x="4789189" y="1597953"/>
            <a:ext cx="4356092" cy="2712108"/>
          </a:xfrm>
          <a:prstGeom prst="rect">
            <a:avLst/>
          </a:prstGeom>
        </p:spPr>
      </p:pic>
      <p:sp>
        <p:nvSpPr>
          <p:cNvPr id="10" name="Ellipse 9">
            <a:extLst>
              <a:ext uri="{FF2B5EF4-FFF2-40B4-BE49-F238E27FC236}">
                <a16:creationId xmlns:a16="http://schemas.microsoft.com/office/drawing/2014/main" id="{5BB4B480-E064-415F-B649-7C2084555800}"/>
              </a:ext>
            </a:extLst>
          </p:cNvPr>
          <p:cNvSpPr/>
          <p:nvPr/>
        </p:nvSpPr>
        <p:spPr>
          <a:xfrm>
            <a:off x="8265024" y="2717187"/>
            <a:ext cx="878976" cy="236820"/>
          </a:xfrm>
          <a:prstGeom prst="ellipse">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da-DK"/>
          </a:p>
        </p:txBody>
      </p:sp>
    </p:spTree>
    <p:extLst>
      <p:ext uri="{BB962C8B-B14F-4D97-AF65-F5344CB8AC3E}">
        <p14:creationId xmlns:p14="http://schemas.microsoft.com/office/powerpoint/2010/main" val="42231038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4" descr="http://www.pollybecker.com/wp-content/uploads/geopolitics.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4350" y="2554788"/>
            <a:ext cx="1974245" cy="1551193"/>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1409482" y="1426316"/>
            <a:ext cx="4572000" cy="1512168"/>
          </a:xfrm>
        </p:spPr>
        <p:txBody>
          <a:bodyPr>
            <a:normAutofit/>
          </a:bodyPr>
          <a:lstStyle/>
          <a:p>
            <a:r>
              <a:rPr lang="da-DK" sz="1500" spc="150" dirty="0">
                <a:latin typeface="+mj-lt"/>
              </a:rPr>
              <a:t>Resultater:</a:t>
            </a:r>
          </a:p>
          <a:p>
            <a:pPr marL="557213" lvl="2" indent="-257175"/>
            <a:r>
              <a:rPr lang="da-DK" sz="1350" spc="150" dirty="0">
                <a:latin typeface="+mj-lt"/>
              </a:rPr>
              <a:t>Omkostningseffektiv energiforsyning</a:t>
            </a:r>
          </a:p>
          <a:p>
            <a:pPr marL="557213" lvl="2" indent="-257175"/>
            <a:r>
              <a:rPr lang="da-DK" sz="1350" spc="150" dirty="0">
                <a:latin typeface="+mj-lt"/>
              </a:rPr>
              <a:t>God effekt på betalingsbalancen</a:t>
            </a:r>
          </a:p>
          <a:p>
            <a:pPr marL="557213" lvl="2" indent="-257175"/>
            <a:r>
              <a:rPr lang="da-DK" sz="1350" spc="150" dirty="0">
                <a:latin typeface="+mj-lt"/>
              </a:rPr>
              <a:t>Job og nye virksomheder</a:t>
            </a:r>
          </a:p>
          <a:p>
            <a:pPr marL="557213" lvl="2" indent="-257175"/>
            <a:r>
              <a:rPr lang="da-DK" sz="1350" spc="150" dirty="0">
                <a:latin typeface="+mj-lt"/>
              </a:rPr>
              <a:t>Høj selvforsyningsgrad – ind til videre</a:t>
            </a:r>
          </a:p>
          <a:p>
            <a:endParaRPr lang="da-DK" dirty="0">
              <a:latin typeface="+mj-lt"/>
            </a:endParaRPr>
          </a:p>
        </p:txBody>
      </p:sp>
      <p:sp>
        <p:nvSpPr>
          <p:cNvPr id="6" name="Slide Number Placeholder 5"/>
          <p:cNvSpPr>
            <a:spLocks noGrp="1"/>
          </p:cNvSpPr>
          <p:nvPr>
            <p:ph type="sldNum" sz="quarter" idx="12"/>
          </p:nvPr>
        </p:nvSpPr>
        <p:spPr/>
        <p:txBody>
          <a:bodyPr/>
          <a:lstStyle/>
          <a:p>
            <a:fld id="{721EDF7D-7702-4948-BE19-257CD2DE7786}" type="slidenum">
              <a:rPr lang="en-US" smtClean="0"/>
              <a:t>12</a:t>
            </a:fld>
            <a:endParaRPr lang="en-US"/>
          </a:p>
        </p:txBody>
      </p:sp>
      <p:sp>
        <p:nvSpPr>
          <p:cNvPr id="10" name="Title 1"/>
          <p:cNvSpPr>
            <a:spLocks noGrp="1"/>
          </p:cNvSpPr>
          <p:nvPr>
            <p:ph type="title"/>
          </p:nvPr>
        </p:nvSpPr>
        <p:spPr>
          <a:xfrm>
            <a:off x="135601" y="936615"/>
            <a:ext cx="6074425" cy="489701"/>
          </a:xfrm>
        </p:spPr>
        <p:txBody>
          <a:bodyPr anchor="t">
            <a:noAutofit/>
          </a:bodyPr>
          <a:lstStyle/>
          <a:p>
            <a:pPr algn="l"/>
            <a:r>
              <a:rPr lang="da-DK" sz="2000" dirty="0"/>
              <a:t>Resultatet af 40 års energiplanlægning i Danmark</a:t>
            </a:r>
          </a:p>
        </p:txBody>
      </p:sp>
      <p:graphicFrame>
        <p:nvGraphicFramePr>
          <p:cNvPr id="12" name="Chart 11"/>
          <p:cNvGraphicFramePr>
            <a:graphicFrameLocks/>
          </p:cNvGraphicFramePr>
          <p:nvPr/>
        </p:nvGraphicFramePr>
        <p:xfrm>
          <a:off x="3385015" y="2669592"/>
          <a:ext cx="5238582" cy="2473908"/>
        </p:xfrm>
        <a:graphic>
          <a:graphicData uri="http://schemas.openxmlformats.org/drawingml/2006/chart">
            <c:chart xmlns:c="http://schemas.openxmlformats.org/drawingml/2006/chart" xmlns:r="http://schemas.openxmlformats.org/officeDocument/2006/relationships" r:id="rId3"/>
          </a:graphicData>
        </a:graphic>
      </p:graphicFrame>
      <p:pic>
        <p:nvPicPr>
          <p:cNvPr id="7" name="Billede 6"/>
          <p:cNvPicPr>
            <a:picLocks noChangeAspect="1"/>
          </p:cNvPicPr>
          <p:nvPr/>
        </p:nvPicPr>
        <p:blipFill>
          <a:blip r:embed="rId4"/>
          <a:stretch>
            <a:fillRect/>
          </a:stretch>
        </p:blipFill>
        <p:spPr>
          <a:xfrm>
            <a:off x="1409482" y="3426749"/>
            <a:ext cx="2150399" cy="1614358"/>
          </a:xfrm>
          <a:prstGeom prst="rect">
            <a:avLst/>
          </a:prstGeom>
        </p:spPr>
      </p:pic>
      <p:pic>
        <p:nvPicPr>
          <p:cNvPr id="2" name="Billede 1">
            <a:extLst>
              <a:ext uri="{FF2B5EF4-FFF2-40B4-BE49-F238E27FC236}">
                <a16:creationId xmlns:a16="http://schemas.microsoft.com/office/drawing/2014/main" id="{16192828-12DA-4A57-BDB9-58648E3437BE}"/>
              </a:ext>
            </a:extLst>
          </p:cNvPr>
          <p:cNvPicPr>
            <a:picLocks noChangeAspect="1"/>
          </p:cNvPicPr>
          <p:nvPr/>
        </p:nvPicPr>
        <p:blipFill>
          <a:blip r:embed="rId5"/>
          <a:stretch>
            <a:fillRect/>
          </a:stretch>
        </p:blipFill>
        <p:spPr>
          <a:xfrm>
            <a:off x="6264773" y="1001830"/>
            <a:ext cx="2722892" cy="1565369"/>
          </a:xfrm>
          <a:prstGeom prst="rect">
            <a:avLst/>
          </a:prstGeom>
        </p:spPr>
      </p:pic>
    </p:spTree>
    <p:extLst>
      <p:ext uri="{BB962C8B-B14F-4D97-AF65-F5344CB8AC3E}">
        <p14:creationId xmlns:p14="http://schemas.microsoft.com/office/powerpoint/2010/main" val="8040675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par>
                          <p:cTn id="11" fill="hold">
                            <p:stCondLst>
                              <p:cond delay="1500"/>
                            </p:stCondLst>
                            <p:childTnLst>
                              <p:par>
                                <p:cTn id="12" presetID="10" presetClass="entr" presetSubtype="0" fill="hold"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 grpId="0">
        <p:bldAsOne/>
      </p:bldGraphic>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el 1"/>
          <p:cNvSpPr>
            <a:spLocks noGrp="1"/>
          </p:cNvSpPr>
          <p:nvPr>
            <p:ph type="title"/>
          </p:nvPr>
        </p:nvSpPr>
        <p:spPr>
          <a:xfrm>
            <a:off x="230809" y="956901"/>
            <a:ext cx="6489467" cy="994172"/>
          </a:xfrm>
        </p:spPr>
        <p:txBody>
          <a:bodyPr>
            <a:normAutofit/>
          </a:bodyPr>
          <a:lstStyle/>
          <a:p>
            <a:pPr algn="l"/>
            <a:r>
              <a:rPr lang="da-DK" altLang="da-DK" sz="2800" dirty="0"/>
              <a:t>Fokus på 1) teknologier der spiller godt sammen og 2) industri, eksport og jobs</a:t>
            </a:r>
          </a:p>
        </p:txBody>
      </p:sp>
      <p:pic>
        <p:nvPicPr>
          <p:cNvPr id="1024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58887" y="1951073"/>
            <a:ext cx="5041885" cy="27626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6365" y="4069385"/>
            <a:ext cx="1552575" cy="8703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50898" y="3734582"/>
            <a:ext cx="788194" cy="11894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7"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3756" y="2551236"/>
            <a:ext cx="1285217" cy="183473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7" name="Billede 6"/>
          <p:cNvPicPr>
            <a:picLocks noChangeAspect="1"/>
          </p:cNvPicPr>
          <p:nvPr/>
        </p:nvPicPr>
        <p:blipFill>
          <a:blip r:embed="rId6"/>
          <a:stretch>
            <a:fillRect/>
          </a:stretch>
        </p:blipFill>
        <p:spPr>
          <a:xfrm>
            <a:off x="6839545" y="116710"/>
            <a:ext cx="2150269" cy="3036094"/>
          </a:xfrm>
          <a:prstGeom prst="rect">
            <a:avLst/>
          </a:prstGeom>
        </p:spPr>
      </p:pic>
    </p:spTree>
    <p:extLst>
      <p:ext uri="{BB962C8B-B14F-4D97-AF65-F5344CB8AC3E}">
        <p14:creationId xmlns:p14="http://schemas.microsoft.com/office/powerpoint/2010/main" val="20179792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el 1"/>
          <p:cNvSpPr>
            <a:spLocks noGrp="1"/>
          </p:cNvSpPr>
          <p:nvPr>
            <p:ph type="title"/>
          </p:nvPr>
        </p:nvSpPr>
        <p:spPr>
          <a:xfrm>
            <a:off x="3609701" y="880866"/>
            <a:ext cx="6172200" cy="651719"/>
          </a:xfrm>
        </p:spPr>
        <p:txBody>
          <a:bodyPr vert="horz" wrap="square" lIns="0" tIns="0" rIns="0" bIns="0" rtlCol="0" anchor="ctr">
            <a:noAutofit/>
          </a:bodyPr>
          <a:lstStyle/>
          <a:p>
            <a:pPr rtl="0"/>
            <a:r>
              <a:rPr lang="da-DK" altLang="da-DK" sz="2700" dirty="0"/>
              <a:t>Energilagring</a:t>
            </a:r>
          </a:p>
        </p:txBody>
      </p:sp>
      <p:pic>
        <p:nvPicPr>
          <p:cNvPr id="29699" name="Picture 5" descr="IM000013_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82540" y="1441499"/>
            <a:ext cx="1570434" cy="1427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00" name="AutoShape 2" descr="data:image/jpeg;base64,/9j/4AAQSkZJRgABAQAAAQABAAD/2wCEAAkGBxMSEhQUEhMVFRUWGBQWFxUVGBcYFxcVGBcWFhQVFBcYHCggGBslHBQUITEhJSkrLi4uFx8zODMsNygtLisBCgoKDg0OFRAQGiwcHBwsLCwsLCwsLCwsLCwsLCssLCwsLCwsLCwrLCwsLDcsLCw3LCwrLCs3Kys3KzcrKysrLP/AABEIALEBHAMBIgACEQEDEQH/xAAbAAABBQEBAAAAAAAAAAAAAAAEAAECAwUGB//EAEIQAAEDAQUFBAcFCAEEAwAAAAEAAhEDBBIhMVEFQWFxgQYUkaETIjKxwdHwQlJicuEVIzNDU4KS8dJzosLDB7Kz/8QAGAEBAQEBAQAAAAAAAAAAAAAAAAECAwT/xAAiEQACAgEFAQEBAQEAAAAAAAAAAQIREgMhMUFREyJhoRT/2gAMAwEAAhEDEQA/APWlIID9osUhtBi64S8OOcQ2UkGLexS7+zVMJeFziFykhe/M1S76zVTB+DOIUE6F76zVP3xmqYvwZx9CkkN3xmqXfGapi/C5x9CUkP3tmqXe26pi/BlH0ISVHe26pd7bqmL8GUfQiUpQ/em6p+9N1TF+DKPpfKUqjvTdUu9N1TF+DKPpfKUqjvTdU3e26pi/BlH0IlKUP3tmqXe26pi/BlH0IlKUP3puqXem6pixlH0vlJUd7bql3tmqYvwZR9L0kP3xmqXfGapi/BlH0ISQxtjNU3fGapi/CZx9CUkL31mqbvzNUwfgzj6FymQvfmapjtBiYS8GcfQpJBnaDE37SYrhLwn0XpxwtymLauWbtBykNpO1Xv2PLidSLapC1LmG7SdqPBTbtF3BCUdL3kp+8rmhtBymLcUoUdD3vil3risFttKn3xBTNzvfFP3visVtub90+KY24fdPigo2+9cUu9LG7+z8Xgm/aDfxeCbCjb71xSFp4rF7+DkVPvPFKJRr964pxa+JWKbVxTd6OqUKNvvZ1KcWs6lYXeTqrG1XHJKRaNnvnNMbYdViurkb1HvR1SkKNzvZTd6Oqw+9nVMLYUolG73o6pu8nVYnezqo99VpCje70eKXelgm3jXzS77olIG8bVxUTaTqsM2xN3zglItG73rikLTxWB3zgn75wSiUbptPFR71xWGbYFDvwSkKN/vfFRNr4rCO0G6hR7+NR4pSFG73xN3xYgtfFLvSuwpmAHKTXocPT31ys7UFX1EVVVeT3gliggVFNtZCB8J21VbJQYKqf0yDFZP6UJYoN9MUvTFCCorWOB+0OqWKLfSqXpURR2aX5VKZ6qT9lx7VamOqmRAYVE/pOKeoyi3+de/K0/FRp16Iz9IfAK5AmKp1S70dFe3aFmH8lxP5kPU2rTEltFg4uJKZCife4VrKs745/os2pt8DIU+jQk/tU6IaQ38rQCpkMWHPrgb1Q+2aSsd21JMwSeJS/agP2PNXNDBmq61HVQFV2qzf2l+HzTut8GIHuTNFwZoOrcUr4QPeRmAY8YUmVG53gmSJi0Fl+ai2qFWx3JMQFbFFxqcfNN3mN6pu6ZJroSxTCBajqmNodqqHqIPEJYovNQneq/SYqF7ikXJZSV8JByrCi5CFhfonDzqqk0pYKMd5SDjxQ97kmNTj4LjkdcQwPdp5hI1OXigRUSmcypkXELNoHBRFo0hUGmldgJmXEvFac3BT9INZQD3iU08/BMiUaIrt1UTahuxQTYVgqxomQovNqccgmFpcNEKag1TXzulTIYmh306BV1LcUE5pGZTNITIYhLrW45EqkuJzKnKrGSZFxHDEgBvUazsM/rimpY71LFExwUS/RWNs7jjdPAkEDxV4soAgmTwIw6yligZoJyVprAbrxyk/BO5j4hogeKh+zKpyY7mGu+AU5LshGo7Iz8lFzp3yrzsyt/TcOJa/5Kt9hqAacPW+SAZj3NxaXDkiG7YqjAuB5gBBuo1IiPrqmZSfGLZ6iVbZKRqU9qlwPqTvm6D7skmbSafudR8llGk9uJDhljiqHPP+1cxijffaRoOYOCg2oJ4lYTXI+x12DGoX8mkZdVfoTA1qVKDD2OAxkmRGGCiHsmDI5n3pbPpsq/zqgzkOaHxlH2gSERTsT3khtOg6NX1GO6iCAeqz9S/Moq0YxE3dWkHx06qNOztef4objEOHnhuVrtnWiiZNK6dwLwcDzCptNqBaZs9RrvvMgic5IHRVangw9LKmzngS1zHCYnEY9QgXuIMR5K6jtKk0gODyN8tukeMyiXbUswyLvEjyup9Gg9NGP6blglVq/QQMnl0UwTxXKzoXh+ahJKbGEx4q2Qt9NhEp/Sk7lQRHJSD8MJ8UstFwp/XyUCVE1FEH/Z0SxQ5qKN8c+SIsuza1USxpunI5AnmcEbT7M1vtYcIPvMBLRDKGOScVIzzXS2bstMSCeZEHwHxWpZ+y7BiWt8AffKZGXJHDMJccAT0Rdn2XXqGGUnGOg6k5Lvamwab2kPvEHiY6aLRsljYwQ0RkpkzOaOGs/ZKu6LxYwcSXnwb81qWXsW3+ZUe78oDB5yV2DU8puR6hiWbsrZ2/yweLy53xjyWhT2TSbk0D8oA9wRkpSpRnNgjtk0TBLAeePvVrLBTGVNo6BXylKpLIig3QeAVjWwolyC2lbgGljTdeMbzvZI0n7J54KNmoKw8xvhQNWmM7nkvO9tVbQ0w99QTiMSAR+GMCOSxRWM4knmSVpI6NHqta2Wce0aXWFmWq22H7RpnkPkuABlSaxxyaTyVr+ijsG2yxA+oCeABg9Cqbb2eo2t3pKI9FAF6m3GfxAbjqAsGyWSqThTd4FdLsvZ9oEyyAQR6xAHvlcpyS7OkIvwwanZYB9wvcCcrzSBOklaNj7DUnA+ktIpOG5xGPEYZLt9j0HsbFV1/CIMkeaa3bPoOxuMadWm6fL5Lzf9DT3O/yTRx7ezDrL69OtSrmYDWH1hhN4yDhh7laLbaabpq0DUa0eq1pYy87GJ/1vW3W2eB/DLp4SD/kBkiK1jaTeqkiMYkAHiVXrIfM5a3vq1HufN4nG7N1zRpdlZ1o2iabfaAx3EA+AMHyXS7a23Z2tExAMB5Hraw2MSvOO0e1WV6l5lMNAwJ3uP3jHNb0230ZlSOkpbUo1GkVSy9udgD105qTrdZTmGmMMADhzC4VpGGJSM6ldKMZbBTK30Vc48QOAx+CHaCpl0ZLRCBcSJlO2tlh4FMCNUwxMAEncBj7kslFrjOsaj4yoVCRhOIWpYuztqqxdpEcXGFss7EVWi9WqsaBnALjyGIkrP0ijSg2cuxoww8V2fYTYlJ59NXbeGPo2Zg3T6zyN/DjKbZ3Zak4kkuLG+05xgYZgAZnr4obaW1SyoDR9QMwYG5ADCI3hE8tkGseTtatW8Td9UZQM44nNQZSA3LnLH2i9L9prKn3X/w3cnzNM8MRyRzdvNa67WY6k7j6zeYI3ccVUqOEot72bICkEPQtTHiWODh+Ez5ZjwVwctWcmmixOFXKeVSFiUqsOTyoCyUpVcpSqCy8mvKMpShCV5U1qQdmrJTFKBl1rDAIbF05tIBaebTh7jxQdlsFlDv31EtGrMW8y32h0vLfIVVSiHZrLhZ0jquLCKdgsoaHUmNeDvaQQDx0V1Ox0hADQI8PBZVnsno6l9hOJx167nDgfFdEaYEEgScDGMHd0Xi1YSh2e/R1VPoxLVtQUHXXUxwIOBGo0RVC20qkAAidJ94Kt2vsZlZsHBwyOnPgue2fZq1Ivp3QTBLXaEZY71y2kv6duGdBdpsGJj87vmqa22aFMe0MN7YjDjguL7YWh7aIczAOPrHeeEnELz6vVcTiSZM5yusNC92znLUro9P2321o3SGPPNmLvkPFchaO05zYwk61TeI6ZLnd2IlIY4jwXojpxijk5tl1qrvrOvPcSTvPw0VIGKkAd6gAd4K6HNlrHzr8FJpHNVB+8eCRIQo7apJwSNTDEqo1NNPeoVTJ11OahQi+Mp5rsezNVjWgsDTjJkS7DXVcK4RmjLHaXM9Zro5HNYkrRqLo9c/bZJE+ruwEhPtCuHtZdqX7pN4DPKJjguBsXaj74x1HyXR2G306rZBDuG8LzOLi7OykmF2iq6nZA3QkXm4gtJJvGMuq42sDMrtGNg4PcASJE585QO0tnMccm/mb6p8sPJdtPVjE5T03I5QFaNj2sQBTqtFWn91xN5v/AE3Zt93BXVNimPVdrgR8kDaNm1GCbsjVuI6xl1Xp+kZdnFwkg91ikekszy4DEtGFRnNozHEKyydpq7PaIqD8eJ/yGPmsWk9zCHMJDhiC3MLUFtpWjCv+7qf1mj1T/wBVg94T/SUdDY+1VJ3th1M8fWb4jEea2rPaWvEsIeNWm94gYjqF5zb9nVKMXgC0+y9hljvyu/0eCHpVS0yCQRkRmlLoy4o9RD5T3lwVHtRXbmQ/84k/5Z+aPo9sB9ukf7XfA/NKZjA668nvLmWdrqJ3VBzaD5td8EQ3tPQ++Orag/8AFQmDN68mvLFHaOz/ANRv/d/xTntDZ/6rf+7/AIpYwZs3krywndpbP/UHQP8A+KpqdrKAyvHk35uCu4+bOjvJ24mBmVyb+1zfs0yfzGPJvzUD2hqvEAhgOYYInmcyls0tNdnZ1qzaX4qmm5vPUobZ+0iKkPODsCT5FYVgtN4R5q+YxXGW/J6IquDq7LtIOe6m/wBR7SARuIPsniDhisyq2rTtBLou79wg71nULSa9YPDSQxno5+87Qaxqujtt/wBE4faumDumPevHNKL27PVF2jkNt2dtWjUZgRLrp3YZR4ry91MgwdxgL0baVZwpAMwkhvIH9SVz9q7OvLiADIAyBgyJmNOK9UHSOMlZzd3GNEp89VvP7KVQJYQdW5Hflgsq07NqNOLSPDyErakmYcWgYNwGSeJETB+oTVWOBxBGG8Qk06K2QrbB/QKcN3uVWIzjekG8EsFTG78/JSPLE4SCldkjD63qZeBuSwOGDInPqoPjdCg0EyfBTugIUYMy+uqvZayw+q4jdgc/BUOqb8FBtM7zEY/ooDaZ2gq5TOR5Ee9a9k7QguN764rjiNM0pM581lwTKpNHoln25SjF0Yoiltyi4zPwJ5Lzdk4Tx3rruz/Ya321gqUqJbTmA+oQwOGrZxI4wsfJGszcriy1juk7x6rueGB6hZlq2CZ/dva/g6GnoZIJ6hFn/wCNdo0XB3ow8AZseCThlGaJ2Zs21MaHVaL2AySDi5o3AtGPklzjxuPzLkwrNa6tmJY5puuzpVQbjhw+YV77LRriaDgx++jUP/5vODuRgrZt1pvOYAaTmHCpMlrR96HNgjUjFD2/s9S9IbogZh9JxfTdvBaCZA5Houi1O3sZcL43OXtFBzCWvBa4biIKHvcV1FXZtVrYe70lMZFwvhvIyHM8kA7YAeR6N5bP4S9vhMgdV0WqjD02Y14p7617X2TrsE32PGGLWu92qHr9nLYAP3bXtMY04vNO9jsJnEfQVWpF9kcGujPvmEym+w124OoVR/aSPFsqFx8kejfh+B0Hlhit2ZoiUgErj/6b/wDEq+lYazsqL41IgeJS0MWNRPFaFnf1VVLZFWcmjheBPg2Vr2Hs894m/wCDY83fJc5akfTa05ErFaIiSj2F1dwDZDMJOvBup9yssexGA+sRlOPrYdYB8Ct7ZNek0SbsjAOnxjTkF59TV8O0NP0J2fYxQAJEHIAfZGnE6lFW/aPoxJaXDfHyQ9XatAwTUbhulY+19tUz9r1Ru3u6LzKLk7Z2tIEtlQPBe67dJiDhAOIjVCegMgscYG6YO/xzQ9s2kKt0BmAyxwM8AibC0gS6GgYmc+gXpXBzZXtDawZSN6Q7AC+MRhudogKFo9LdY8MeBEOngFT2n2vT9kAOxmNBpPh4rnO6tOLHPpEgm684dHDdzC0kqMN77HQ7Xszmfw5F0wYF4CeChsmy06hIf6FpHsyM9QRuWHQ2raaTS5rzdOBMTiMs8kUO1IeIr0WVOPsnxGKy4XwaU12dKeyTKjZYWQRBEzB3oKp2ObrUyxDZIB0kNKhYNsWdovU6zqOrHy4eMea6Gz7WY5oIqSMRN8YwcTmFzeaOiwZ5XPgkRjwS5JSAvSeYcmMAna4AYqqcU7WICTX6J+M5po3BIuyUAxOGCk1uvMnRNkDPQaDimDpBxzSwdF2dt9jY8tewFxaIfVEgEYi6Ad8njgugZbxZYdRt1qGQAvl1MOO4NdjGHRebWnGIxM9FZVtNQketGOXLALOO+xbPaB28tLaRm12Z7TAmqC0jh6pF7qQs7aNtfXg1rU94wIbF1jdCymzCOJkrh6VSn6rnMa475HmOK6iy7Yb6OaV5u5zZBx1HDgszk+jpCK7NAWak8F5MkiHPBLCRhnEaI2y1rO1jWB8BvqtxxwxiTiVzlSt+6IMy7EHcNZWRRY0EugHjv81lRyW5tyx4OwqbVs1F4iq5xO6SQOZAMK6l2js5xAg6GZHA+quPbVBOIA4pyQc+mGa1giObOys/aNgcZa2Jzk4YYZpWftM3GaUOxm6cDvkHzXFAnQcyrrPXuuw3EGPkmCCkzdtW12PqCoKVIO3F169H9phVV9qF0SyjnMQ/zxVFuDbxgRgCJzBjJB1arRGGK5ZUdFGw4298YNpAfha4HxDlk23a9yswkMIGYgnric1Vb7S4DKBquargl17E4kdAukP1yc9T88HoeytsirRvMaA8ZgbjylCV9q1fRlzvRAhzomRLdMcN/VcIx+BicfcpU6tQtLJJkzGM+fJa+aRzc2dAztG4fZZMb2zv5oJ3aBweXBrYJ9gtw8JWXddkMCn9AZ9Yc4PmtJIzkzZZ2heRgxn+I+aHrbdqnAFg5NAhZ3oxukeOHNOaZE44z4jhirSFs0h2ktIGBEatDZQj7fWeTL3E8TH6KgT/AL4JPwM5GNxlCWV2pzzN8YyDJz8dFYdsOvTDHC6ALwkD9VBrpOOKsfSY4ZHDVXYDNt5c0zMk448FQxoIxTimJ9VSeMIjXFNugVkGIHgqSBvCK9Ebx3ack7hjkfJCES6BgE3PeleHj9FXOrNu5clCkG08JO9KeqhBP6pQUBEvJTjcp0qQieqcNzMIKIXddVO4MFbTbJ3/AKqLBjDhlyy18lC0MaYb1xyUGCJP1O5Te6T9HBRBnHSI6IC+pVN3fP180fsR0kHPHl/tAUxf9XecFu2eh6NrWxMb941WW+jUTWt1oFdrGhjadxt28Pt8XDVY42TVGVUeCKsxg5ouVpbFe5kfsmvuqT1+ahVslqGRJ/xW3eS9JvlWyUcvWdaRN6+OkDkt3s3RrOLTVpuAGIccoiR8FKptJgke17vNNS206QIF3RGmwqQdbabi8z571m2p5aRI3jNag2q0tJuicoP1kuY2lanl0ZycpwxiMDlErhhbOz1KQ1ttPpDdwjTUoSpUaBABGeWHxSoPJc1u8OIxGe9WVmn1hABM6cPJdeNjg3e7BGxez0wBgjUrRbVgYkQBgR7X6oKtTum8dI18FK5heDTAHDzVIJ9dpJLcZJmcOqpcwiSN/Hr8FOm0OkzBABAgbxOOqsa0kMdJ3nIYHJBRQ1t4ERiYPzxV1QA8DMRHLBWXIBBIJBEdclXegH805QgoTGENxxxOkiZUS3LhG/fP6IioQ5hxGc4ZiNecKNZg3b9x5oWge5eeZAwAjrKi+icMhPxlTFaHcOOCtFSTkJ5ylkBX0zv4/Uqt2WA6q+s4ExG4jrlKmyl6oEj61VsUVQ3M4u1lQuNMHEKy0ARlqoU8t6EB6LMsFcGjqpsZmeim6nGW8eShSoiIk5qdCmC4gnLNSp0gQJOLcuuSZzYxOZ+ggIBsA8yr3nJOymZ4AZecqDwMvPoTl0ULQ5eMY5qt7QC6STIjDrgpOZAGGJHjimdZiAIl0mcDj4ICVCiAMs5zPL5lTdShkjLI7pkypU6DgXbogmc8U9GkSbmUjnhjijYoz6Ly0tkRx65rpKbTcLxLsp5LI2jRxEkYQBEYjd5Le2a6ad1xxIgZdJOqj6ZuC5QLe3n/AEj7Nag4Z4hZVqpuaYcCPchr0nOOK3yZN6vbms4n3c0BWrF2J8NypBCkGXRJwHLE8AE4HJG6TkJUapAE5/Dqmq15EeyJ+iSptsoLWyCbx1gQAs5FxB+8Oyn9MlM3g95jABxJOoaCIVmAc+9hnkd5wAHgqwwiTeIG5uY6+alkopsdW+5skTEzGHmmuEkyTG7jvUrO0B03CDrEjXwV7TIEgDE5YThmqyA9dvqDPHGM/wDStsdFpkZbukY/FJznTIAiPiPgFUHgGcsjxxQFtrs8FxYfVAbM5gGIHgiKlO8A1pAM7sjvhNSAdBnCAXdOHgqwcSQ6JIg9Afks2aottNMXbxN0m6BliZwmUMBIcIOGMczhCkapeS2oJghzTlBHJQLYviCTr5qojEG4GfLPAFQvzhnBEYBSpeyDO8GOBUaLmk5gQd+GOP6KkGY7Pfl7sSq72GWO8q+qwtOAk54dc0K0PuAtE5k+aAkAWmW665qyrabxIfqMswMJ5qtpc6MLpnd8kwYW5kHPGIPVUInXqwIAEHI7+qcsJyPmM/BQphrm5wZUS8j7XiD8EIXO+ajTy8fekkhSull1+SlaPa8PekkhOgyy/AIA/L3FJJZRph9P2qXN3vCos3tN/MUkkKH2r5/BDWf+L0HvTJLPRWD2v2mfW8rfsuQ/M73BJJV8Fhyye2sn/wBi5zd1SSWocGJchlmzH1ortofxjySSSRqPAHUz6/Bam6n+X5JJLDL2Y9t/9g9yMrZvTpLSMdkKfspqubOQ9ySSAhbtyF2j7Tfys9ySSpGX7N9no7/6oo+z9aNSSWTS4Bx/E/yUnZ/2n3pJLRkro+y3p7wh7T9rp7k6SA0mfa/Kz3uVNj+J+KSSIpK27uZ+KjbfYHIe4pJIGZVPei6OX1oEklTJ/9k="/>
          <p:cNvSpPr>
            <a:spLocks noChangeAspect="1" noChangeArrowheads="1"/>
          </p:cNvSpPr>
          <p:nvPr/>
        </p:nvSpPr>
        <p:spPr bwMode="auto">
          <a:xfrm>
            <a:off x="1143000" y="-136922"/>
            <a:ext cx="228600" cy="228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400">
                <a:solidFill>
                  <a:schemeClr val="bg2"/>
                </a:solidFill>
                <a:latin typeface="TrueGillSansOneBold" pitchFamily="2" charset="0"/>
                <a:ea typeface="MS PGothic" panose="020B0600070205080204" pitchFamily="34" charset="-128"/>
              </a:defRPr>
            </a:lvl1pPr>
            <a:lvl2pPr marL="742950" indent="-285750">
              <a:spcBef>
                <a:spcPct val="20000"/>
              </a:spcBef>
              <a:buChar char="–"/>
              <a:defRPr sz="2000">
                <a:solidFill>
                  <a:schemeClr val="bg2"/>
                </a:solidFill>
                <a:latin typeface="TrueGillSansOneBold" pitchFamily="2" charset="0"/>
                <a:ea typeface="MS PGothic" panose="020B0600070205080204" pitchFamily="34" charset="-128"/>
              </a:defRPr>
            </a:lvl2pPr>
            <a:lvl3pPr marL="1143000" indent="-228600">
              <a:spcBef>
                <a:spcPct val="20000"/>
              </a:spcBef>
              <a:buChar char="•"/>
              <a:defRPr sz="1600">
                <a:solidFill>
                  <a:schemeClr val="bg2"/>
                </a:solidFill>
                <a:latin typeface="TrueGillSansOneBold" pitchFamily="2" charset="0"/>
                <a:ea typeface="MS PGothic" panose="020B0600070205080204" pitchFamily="34" charset="-128"/>
              </a:defRPr>
            </a:lvl3pPr>
            <a:lvl4pPr marL="1600200" indent="-228600">
              <a:spcBef>
                <a:spcPct val="20000"/>
              </a:spcBef>
              <a:buChar char="–"/>
              <a:defRPr sz="1400">
                <a:solidFill>
                  <a:schemeClr val="bg2"/>
                </a:solidFill>
                <a:latin typeface="TrueGillSansOneBold" pitchFamily="2" charset="0"/>
                <a:ea typeface="MS PGothic" panose="020B0600070205080204" pitchFamily="34" charset="-128"/>
              </a:defRPr>
            </a:lvl4pPr>
            <a:lvl5pPr marL="2057400" indent="-228600">
              <a:spcBef>
                <a:spcPct val="20000"/>
              </a:spcBef>
              <a:buChar char="»"/>
              <a:defRPr sz="1400">
                <a:solidFill>
                  <a:schemeClr val="bg2"/>
                </a:solidFill>
                <a:latin typeface="TrueGillSansOneBold" pitchFamily="2"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bg2"/>
                </a:solidFill>
                <a:latin typeface="TrueGillSansOneBold" pitchFamily="2"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bg2"/>
                </a:solidFill>
                <a:latin typeface="TrueGillSansOneBold" pitchFamily="2"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bg2"/>
                </a:solidFill>
                <a:latin typeface="TrueGillSansOneBold" pitchFamily="2"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bg2"/>
                </a:solidFill>
                <a:latin typeface="TrueGillSansOneBold" pitchFamily="2" charset="0"/>
                <a:ea typeface="MS PGothic" panose="020B0600070205080204" pitchFamily="34" charset="-128"/>
              </a:defRPr>
            </a:lvl9pPr>
          </a:lstStyle>
          <a:p>
            <a:pPr eaLnBrk="1" hangingPunct="1">
              <a:spcBef>
                <a:spcPct val="0"/>
              </a:spcBef>
              <a:buFontTx/>
              <a:buNone/>
            </a:pPr>
            <a:endParaRPr lang="da-DK" altLang="da-DK" sz="1800">
              <a:solidFill>
                <a:schemeClr val="tx1"/>
              </a:solidFill>
              <a:latin typeface="Times New Roman" panose="02020603050405020304" pitchFamily="18" charset="0"/>
            </a:endParaRPr>
          </a:p>
        </p:txBody>
      </p:sp>
      <p:sp>
        <p:nvSpPr>
          <p:cNvPr id="29701" name="AutoShape 4" descr="data:image/jpeg;base64,/9j/4AAQSkZJRgABAQAAAQABAAD/2wCEAAkGBxMSEhQUEhMVFRUWGBQWFxUVGBcYFxcVGBcWFhQVFBcYHCggGBslHBQUITEhJSkrLi4uFx8zODMsNygtLisBCgoKDg0OFRAQGiwcHBwsLCwsLCwsLCwsLCwsLCssLCwsLCwsLCwrLCwsLDcsLCw3LCwrLCs3Kys3KzcrKysrLP/AABEIALEBHAMBIgACEQEDEQH/xAAbAAABBQEBAAAAAAAAAAAAAAAEAAECAwUGB//EAEIQAAEDAQUFBAcFCAEEAwAAAAEAAhEDBBIhMVEFQWFxgQYUkaETIjKxwdHwQlJicuEVIzNDU4KS8dJzosLDB7Kz/8QAGAEBAQEBAQAAAAAAAAAAAAAAAAECAwT/xAAiEQACAgEFAQEBAQEAAAAAAAAAAQIREgMhMUFREyJhoRT/2gAMAwEAAhEDEQA/APWlIID9osUhtBi64S8OOcQ2UkGLexS7+zVMJeFziFykhe/M1S76zVTB+DOIUE6F76zVP3xmqYvwZx9CkkN3xmqXfGapi/C5x9CUkP3tmqXe26pi/BlH0ISVHe26pd7bqmL8GUfQiUpQ/em6p+9N1TF+DKPpfKUqjvTdUu9N1TF+DKPpfKUqjvTdU3e26pi/BlH0IlKUP3tmqXe26pi/BlH0IlKUP3puqXem6pixlH0vlJUd7bql3tmqYvwZR9L0kP3xmqXfGapi/BlH0ISQxtjNU3fGapi/CZx9CUkL31mqbvzNUwfgzj6FymQvfmapjtBiYS8GcfQpJBnaDE37SYrhLwn0XpxwtymLauWbtBykNpO1Xv2PLidSLapC1LmG7SdqPBTbtF3BCUdL3kp+8rmhtBymLcUoUdD3vil3risFttKn3xBTNzvfFP3visVtub90+KY24fdPigo2+9cUu9LG7+z8Xgm/aDfxeCbCjb71xSFp4rF7+DkVPvPFKJRr964pxa+JWKbVxTd6OqUKNvvZ1KcWs6lYXeTqrG1XHJKRaNnvnNMbYdViurkb1HvR1SkKNzvZTd6Oqw+9nVMLYUolG73o6pu8nVYnezqo99VpCje70eKXelgm3jXzS77olIG8bVxUTaTqsM2xN3zglItG73rikLTxWB3zgn75wSiUbptPFR71xWGbYFDvwSkKN/vfFRNr4rCO0G6hR7+NR4pSFG73xN3xYgtfFLvSuwpmAHKTXocPT31ys7UFX1EVVVeT3gliggVFNtZCB8J21VbJQYKqf0yDFZP6UJYoN9MUvTFCCorWOB+0OqWKLfSqXpURR2aX5VKZ6qT9lx7VamOqmRAYVE/pOKeoyi3+de/K0/FRp16Iz9IfAK5AmKp1S70dFe3aFmH8lxP5kPU2rTEltFg4uJKZCife4VrKs745/os2pt8DIU+jQk/tU6IaQ38rQCpkMWHPrgb1Q+2aSsd21JMwSeJS/agP2PNXNDBmq61HVQFV2qzf2l+HzTut8GIHuTNFwZoOrcUr4QPeRmAY8YUmVG53gmSJi0Fl+ai2qFWx3JMQFbFFxqcfNN3mN6pu6ZJroSxTCBajqmNodqqHqIPEJYovNQneq/SYqF7ikXJZSV8JByrCi5CFhfonDzqqk0pYKMd5SDjxQ97kmNTj4LjkdcQwPdp5hI1OXigRUSmcypkXELNoHBRFo0hUGmldgJmXEvFac3BT9INZQD3iU08/BMiUaIrt1UTahuxQTYVgqxomQovNqccgmFpcNEKag1TXzulTIYmh306BV1LcUE5pGZTNITIYhLrW45EqkuJzKnKrGSZFxHDEgBvUazsM/rimpY71LFExwUS/RWNs7jjdPAkEDxV4soAgmTwIw6yligZoJyVprAbrxyk/BO5j4hogeKh+zKpyY7mGu+AU5LshGo7Iz8lFzp3yrzsyt/TcOJa/5Kt9hqAacPW+SAZj3NxaXDkiG7YqjAuB5gBBuo1IiPrqmZSfGLZ6iVbZKRqU9qlwPqTvm6D7skmbSafudR8llGk9uJDhljiqHPP+1cxijffaRoOYOCg2oJ4lYTXI+x12DGoX8mkZdVfoTA1qVKDD2OAxkmRGGCiHsmDI5n3pbPpsq/zqgzkOaHxlH2gSERTsT3khtOg6NX1GO6iCAeqz9S/Moq0YxE3dWkHx06qNOztef4objEOHnhuVrtnWiiZNK6dwLwcDzCptNqBaZs9RrvvMgic5IHRVangw9LKmzngS1zHCYnEY9QgXuIMR5K6jtKk0gODyN8tukeMyiXbUswyLvEjyup9Gg9NGP6blglVq/QQMnl0UwTxXKzoXh+ahJKbGEx4q2Qt9NhEp/Sk7lQRHJSD8MJ8UstFwp/XyUCVE1FEH/Z0SxQ5qKN8c+SIsuza1USxpunI5AnmcEbT7M1vtYcIPvMBLRDKGOScVIzzXS2bstMSCeZEHwHxWpZ+y7BiWt8AffKZGXJHDMJccAT0Rdn2XXqGGUnGOg6k5Lvamwab2kPvEHiY6aLRsljYwQ0RkpkzOaOGs/ZKu6LxYwcSXnwb81qWXsW3+ZUe78oDB5yV2DU8puR6hiWbsrZ2/yweLy53xjyWhT2TSbk0D8oA9wRkpSpRnNgjtk0TBLAeePvVrLBTGVNo6BXylKpLIig3QeAVjWwolyC2lbgGljTdeMbzvZI0n7J54KNmoKw8xvhQNWmM7nkvO9tVbQ0w99QTiMSAR+GMCOSxRWM4knmSVpI6NHqta2Wce0aXWFmWq22H7RpnkPkuABlSaxxyaTyVr+ijsG2yxA+oCeABg9Cqbb2eo2t3pKI9FAF6m3GfxAbjqAsGyWSqThTd4FdLsvZ9oEyyAQR6xAHvlcpyS7OkIvwwanZYB9wvcCcrzSBOklaNj7DUnA+ktIpOG5xGPEYZLt9j0HsbFV1/CIMkeaa3bPoOxuMadWm6fL5Lzf9DT3O/yTRx7ezDrL69OtSrmYDWH1hhN4yDhh7laLbaabpq0DUa0eq1pYy87GJ/1vW3W2eB/DLp4SD/kBkiK1jaTeqkiMYkAHiVXrIfM5a3vq1HufN4nG7N1zRpdlZ1o2iabfaAx3EA+AMHyXS7a23Z2tExAMB5Hraw2MSvOO0e1WV6l5lMNAwJ3uP3jHNb0230ZlSOkpbUo1GkVSy9udgD105qTrdZTmGmMMADhzC4VpGGJSM6ldKMZbBTK30Vc48QOAx+CHaCpl0ZLRCBcSJlO2tlh4FMCNUwxMAEncBj7kslFrjOsaj4yoVCRhOIWpYuztqqxdpEcXGFss7EVWi9WqsaBnALjyGIkrP0ijSg2cuxoww8V2fYTYlJ59NXbeGPo2Zg3T6zyN/DjKbZ3Zak4kkuLG+05xgYZgAZnr4obaW1SyoDR9QMwYG5ADCI3hE8tkGseTtatW8Td9UZQM44nNQZSA3LnLH2i9L9prKn3X/w3cnzNM8MRyRzdvNa67WY6k7j6zeYI3ccVUqOEot72bICkEPQtTHiWODh+Ez5ZjwVwctWcmmixOFXKeVSFiUqsOTyoCyUpVcpSqCy8mvKMpShCV5U1qQdmrJTFKBl1rDAIbF05tIBaebTh7jxQdlsFlDv31EtGrMW8y32h0vLfIVVSiHZrLhZ0jquLCKdgsoaHUmNeDvaQQDx0V1Ox0hADQI8PBZVnsno6l9hOJx167nDgfFdEaYEEgScDGMHd0Xi1YSh2e/R1VPoxLVtQUHXXUxwIOBGo0RVC20qkAAidJ94Kt2vsZlZsHBwyOnPgue2fZq1Ivp3QTBLXaEZY71y2kv6duGdBdpsGJj87vmqa22aFMe0MN7YjDjguL7YWh7aIczAOPrHeeEnELz6vVcTiSZM5yusNC92znLUro9P2321o3SGPPNmLvkPFchaO05zYwk61TeI6ZLnd2IlIY4jwXojpxijk5tl1qrvrOvPcSTvPw0VIGKkAd6gAd4K6HNlrHzr8FJpHNVB+8eCRIQo7apJwSNTDEqo1NNPeoVTJ11OahQi+Mp5rsezNVjWgsDTjJkS7DXVcK4RmjLHaXM9Zro5HNYkrRqLo9c/bZJE+ruwEhPtCuHtZdqX7pN4DPKJjguBsXaj74x1HyXR2G306rZBDuG8LzOLi7OykmF2iq6nZA3QkXm4gtJJvGMuq42sDMrtGNg4PcASJE585QO0tnMccm/mb6p8sPJdtPVjE5T03I5QFaNj2sQBTqtFWn91xN5v/AE3Zt93BXVNimPVdrgR8kDaNm1GCbsjVuI6xl1Xp+kZdnFwkg91ikekszy4DEtGFRnNozHEKyydpq7PaIqD8eJ/yGPmsWk9zCHMJDhiC3MLUFtpWjCv+7qf1mj1T/wBVg94T/SUdDY+1VJ3th1M8fWb4jEea2rPaWvEsIeNWm94gYjqF5zb9nVKMXgC0+y9hljvyu/0eCHpVS0yCQRkRmlLoy4o9RD5T3lwVHtRXbmQ/84k/5Z+aPo9sB9ukf7XfA/NKZjA668nvLmWdrqJ3VBzaD5td8EQ3tPQ++Orag/8AFQmDN68mvLFHaOz/ANRv/d/xTntDZ/6rf+7/AIpYwZs3krywndpbP/UHQP8A+KpqdrKAyvHk35uCu4+bOjvJ24mBmVyb+1zfs0yfzGPJvzUD2hqvEAhgOYYInmcyls0tNdnZ1qzaX4qmm5vPUobZ+0iKkPODsCT5FYVgtN4R5q+YxXGW/J6IquDq7LtIOe6m/wBR7SARuIPsniDhisyq2rTtBLou79wg71nULSa9YPDSQxno5+87Qaxqujtt/wBE4faumDumPevHNKL27PVF2jkNt2dtWjUZgRLrp3YZR4ry91MgwdxgL0baVZwpAMwkhvIH9SVz9q7OvLiADIAyBgyJmNOK9UHSOMlZzd3GNEp89VvP7KVQJYQdW5Hflgsq07NqNOLSPDyErakmYcWgYNwGSeJETB+oTVWOBxBGG8Qk06K2QrbB/QKcN3uVWIzjekG8EsFTG78/JSPLE4SCldkjD63qZeBuSwOGDInPqoPjdCg0EyfBTugIUYMy+uqvZayw+q4jdgc/BUOqb8FBtM7zEY/ooDaZ2gq5TOR5Ee9a9k7QguN764rjiNM0pM581lwTKpNHoln25SjF0Yoiltyi4zPwJ5Lzdk4Tx3rruz/Ya321gqUqJbTmA+oQwOGrZxI4wsfJGszcriy1juk7x6rueGB6hZlq2CZ/dva/g6GnoZIJ6hFn/wCNdo0XB3ow8AZseCThlGaJ2Zs21MaHVaL2AySDi5o3AtGPklzjxuPzLkwrNa6tmJY5puuzpVQbjhw+YV77LRriaDgx++jUP/5vODuRgrZt1pvOYAaTmHCpMlrR96HNgjUjFD2/s9S9IbogZh9JxfTdvBaCZA5Houi1O3sZcL43OXtFBzCWvBa4biIKHvcV1FXZtVrYe70lMZFwvhvIyHM8kA7YAeR6N5bP4S9vhMgdV0WqjD02Y14p7617X2TrsE32PGGLWu92qHr9nLYAP3bXtMY04vNO9jsJnEfQVWpF9kcGujPvmEym+w124OoVR/aSPFsqFx8kejfh+B0Hlhit2ZoiUgErj/6b/wDEq+lYazsqL41IgeJS0MWNRPFaFnf1VVLZFWcmjheBPg2Vr2Hs894m/wCDY83fJc5akfTa05ErFaIiSj2F1dwDZDMJOvBup9yssexGA+sRlOPrYdYB8Ct7ZNek0SbsjAOnxjTkF59TV8O0NP0J2fYxQAJEHIAfZGnE6lFW/aPoxJaXDfHyQ9XatAwTUbhulY+19tUz9r1Ru3u6LzKLk7Z2tIEtlQPBe67dJiDhAOIjVCegMgscYG6YO/xzQ9s2kKt0BmAyxwM8AibC0gS6GgYmc+gXpXBzZXtDawZSN6Q7AC+MRhudogKFo9LdY8MeBEOngFT2n2vT9kAOxmNBpPh4rnO6tOLHPpEgm684dHDdzC0kqMN77HQ7Xszmfw5F0wYF4CeChsmy06hIf6FpHsyM9QRuWHQ2raaTS5rzdOBMTiMs8kUO1IeIr0WVOPsnxGKy4XwaU12dKeyTKjZYWQRBEzB3oKp2ObrUyxDZIB0kNKhYNsWdovU6zqOrHy4eMea6Gz7WY5oIqSMRN8YwcTmFzeaOiwZ5XPgkRjwS5JSAvSeYcmMAna4AYqqcU7WICTX6J+M5po3BIuyUAxOGCk1uvMnRNkDPQaDimDpBxzSwdF2dt9jY8tewFxaIfVEgEYi6Ad8njgugZbxZYdRt1qGQAvl1MOO4NdjGHRebWnGIxM9FZVtNQketGOXLALOO+xbPaB28tLaRm12Z7TAmqC0jh6pF7qQs7aNtfXg1rU94wIbF1jdCymzCOJkrh6VSn6rnMa475HmOK6iy7Yb6OaV5u5zZBx1HDgszk+jpCK7NAWak8F5MkiHPBLCRhnEaI2y1rO1jWB8BvqtxxwxiTiVzlSt+6IMy7EHcNZWRRY0EugHjv81lRyW5tyx4OwqbVs1F4iq5xO6SQOZAMK6l2js5xAg6GZHA+quPbVBOIA4pyQc+mGa1giObOys/aNgcZa2Jzk4YYZpWftM3GaUOxm6cDvkHzXFAnQcyrrPXuuw3EGPkmCCkzdtW12PqCoKVIO3F169H9phVV9qF0SyjnMQ/zxVFuDbxgRgCJzBjJB1arRGGK5ZUdFGw4298YNpAfha4HxDlk23a9yswkMIGYgnric1Vb7S4DKBquargl17E4kdAukP1yc9T88HoeytsirRvMaA8ZgbjylCV9q1fRlzvRAhzomRLdMcN/VcIx+BicfcpU6tQtLJJkzGM+fJa+aRzc2dAztG4fZZMb2zv5oJ3aBweXBrYJ9gtw8JWXddkMCn9AZ9Yc4PmtJIzkzZZ2heRgxn+I+aHrbdqnAFg5NAhZ3oxukeOHNOaZE44z4jhirSFs0h2ktIGBEatDZQj7fWeTL3E8TH6KgT/AL4JPwM5GNxlCWV2pzzN8YyDJz8dFYdsOvTDHC6ALwkD9VBrpOOKsfSY4ZHDVXYDNt5c0zMk448FQxoIxTimJ9VSeMIjXFNugVkGIHgqSBvCK9Ebx3ack7hjkfJCES6BgE3PeleHj9FXOrNu5clCkG08JO9KeqhBP6pQUBEvJTjcp0qQieqcNzMIKIXddVO4MFbTbJ3/AKqLBjDhlyy18lC0MaYb1xyUGCJP1O5Te6T9HBRBnHSI6IC+pVN3fP180fsR0kHPHl/tAUxf9XecFu2eh6NrWxMb941WW+jUTWt1oFdrGhjadxt28Pt8XDVY42TVGVUeCKsxg5ouVpbFe5kfsmvuqT1+ahVslqGRJ/xW3eS9JvlWyUcvWdaRN6+OkDkt3s3RrOLTVpuAGIccoiR8FKptJgke17vNNS206QIF3RGmwqQdbabi8z571m2p5aRI3jNag2q0tJuicoP1kuY2lanl0ZycpwxiMDlErhhbOz1KQ1ttPpDdwjTUoSpUaBABGeWHxSoPJc1u8OIxGe9WVmn1hABM6cPJdeNjg3e7BGxez0wBgjUrRbVgYkQBgR7X6oKtTum8dI18FK5heDTAHDzVIJ9dpJLcZJmcOqpcwiSN/Hr8FOm0OkzBABAgbxOOqsa0kMdJ3nIYHJBRQ1t4ERiYPzxV1QA8DMRHLBWXIBBIJBEdclXegH805QgoTGENxxxOkiZUS3LhG/fP6IioQ5hxGc4ZiNecKNZg3b9x5oWge5eeZAwAjrKi+icMhPxlTFaHcOOCtFSTkJ5ylkBX0zv4/Uqt2WA6q+s4ExG4jrlKmyl6oEj61VsUVQ3M4u1lQuNMHEKy0ARlqoU8t6EB6LMsFcGjqpsZmeim6nGW8eShSoiIk5qdCmC4gnLNSp0gQJOLcuuSZzYxOZ+ggIBsA8yr3nJOymZ4AZecqDwMvPoTl0ULQ5eMY5qt7QC6STIjDrgpOZAGGJHjimdZiAIl0mcDj4ICVCiAMs5zPL5lTdShkjLI7pkypU6DgXbogmc8U9GkSbmUjnhjijYoz6Ly0tkRx65rpKbTcLxLsp5LI2jRxEkYQBEYjd5Le2a6ad1xxIgZdJOqj6ZuC5QLe3n/AEj7Nag4Z4hZVqpuaYcCPchr0nOOK3yZN6vbms4n3c0BWrF2J8NypBCkGXRJwHLE8AE4HJG6TkJUapAE5/Dqmq15EeyJ+iSptsoLWyCbx1gQAs5FxB+8Oyn9MlM3g95jABxJOoaCIVmAc+9hnkd5wAHgqwwiTeIG5uY6+alkopsdW+5skTEzGHmmuEkyTG7jvUrO0B03CDrEjXwV7TIEgDE5YThmqyA9dvqDPHGM/wDStsdFpkZbukY/FJznTIAiPiPgFUHgGcsjxxQFtrs8FxYfVAbM5gGIHgiKlO8A1pAM7sjvhNSAdBnCAXdOHgqwcSQ6JIg9Afks2aottNMXbxN0m6BliZwmUMBIcIOGMczhCkapeS2oJghzTlBHJQLYviCTr5qojEG4GfLPAFQvzhnBEYBSpeyDO8GOBUaLmk5gQd+GOP6KkGY7Pfl7sSq72GWO8q+qwtOAk54dc0K0PuAtE5k+aAkAWmW665qyrabxIfqMswMJ5qtpc6MLpnd8kwYW5kHPGIPVUInXqwIAEHI7+qcsJyPmM/BQphrm5wZUS8j7XiD8EIXO+ajTy8fekkhSull1+SlaPa8PekkhOgyy/AIA/L3FJJZRph9P2qXN3vCos3tN/MUkkKH2r5/BDWf+L0HvTJLPRWD2v2mfW8rfsuQ/M73BJJV8Fhyye2sn/wBi5zd1SSWocGJchlmzH1ortofxjySSSRqPAHUz6/Bam6n+X5JJLDL2Y9t/9g9yMrZvTpLSMdkKfspqubOQ9ySSAhbtyF2j7Tfys9ySSpGX7N9no7/6oo+z9aNSSWTS4Bx/E/yUnZ/2n3pJLRkro+y3p7wh7T9rp7k6SA0mfa/Kz3uVNj+J+KSSIpK27uZ+KjbfYHIe4pJIGZVPei6OX1oEklTJ/9k="/>
          <p:cNvSpPr>
            <a:spLocks noChangeAspect="1" noChangeArrowheads="1"/>
          </p:cNvSpPr>
          <p:nvPr/>
        </p:nvSpPr>
        <p:spPr bwMode="auto">
          <a:xfrm>
            <a:off x="1257300" y="-22622"/>
            <a:ext cx="228600" cy="228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400">
                <a:solidFill>
                  <a:schemeClr val="bg2"/>
                </a:solidFill>
                <a:latin typeface="TrueGillSansOneBold" pitchFamily="2" charset="0"/>
                <a:ea typeface="MS PGothic" panose="020B0600070205080204" pitchFamily="34" charset="-128"/>
              </a:defRPr>
            </a:lvl1pPr>
            <a:lvl2pPr marL="742950" indent="-285750">
              <a:spcBef>
                <a:spcPct val="20000"/>
              </a:spcBef>
              <a:buChar char="–"/>
              <a:defRPr sz="2000">
                <a:solidFill>
                  <a:schemeClr val="bg2"/>
                </a:solidFill>
                <a:latin typeface="TrueGillSansOneBold" pitchFamily="2" charset="0"/>
                <a:ea typeface="MS PGothic" panose="020B0600070205080204" pitchFamily="34" charset="-128"/>
              </a:defRPr>
            </a:lvl2pPr>
            <a:lvl3pPr marL="1143000" indent="-228600">
              <a:spcBef>
                <a:spcPct val="20000"/>
              </a:spcBef>
              <a:buChar char="•"/>
              <a:defRPr sz="1600">
                <a:solidFill>
                  <a:schemeClr val="bg2"/>
                </a:solidFill>
                <a:latin typeface="TrueGillSansOneBold" pitchFamily="2" charset="0"/>
                <a:ea typeface="MS PGothic" panose="020B0600070205080204" pitchFamily="34" charset="-128"/>
              </a:defRPr>
            </a:lvl3pPr>
            <a:lvl4pPr marL="1600200" indent="-228600">
              <a:spcBef>
                <a:spcPct val="20000"/>
              </a:spcBef>
              <a:buChar char="–"/>
              <a:defRPr sz="1400">
                <a:solidFill>
                  <a:schemeClr val="bg2"/>
                </a:solidFill>
                <a:latin typeface="TrueGillSansOneBold" pitchFamily="2" charset="0"/>
                <a:ea typeface="MS PGothic" panose="020B0600070205080204" pitchFamily="34" charset="-128"/>
              </a:defRPr>
            </a:lvl4pPr>
            <a:lvl5pPr marL="2057400" indent="-228600">
              <a:spcBef>
                <a:spcPct val="20000"/>
              </a:spcBef>
              <a:buChar char="»"/>
              <a:defRPr sz="1400">
                <a:solidFill>
                  <a:schemeClr val="bg2"/>
                </a:solidFill>
                <a:latin typeface="TrueGillSansOneBold" pitchFamily="2"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bg2"/>
                </a:solidFill>
                <a:latin typeface="TrueGillSansOneBold" pitchFamily="2"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bg2"/>
                </a:solidFill>
                <a:latin typeface="TrueGillSansOneBold" pitchFamily="2"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bg2"/>
                </a:solidFill>
                <a:latin typeface="TrueGillSansOneBold" pitchFamily="2"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bg2"/>
                </a:solidFill>
                <a:latin typeface="TrueGillSansOneBold" pitchFamily="2" charset="0"/>
                <a:ea typeface="MS PGothic" panose="020B0600070205080204" pitchFamily="34" charset="-128"/>
              </a:defRPr>
            </a:lvl9pPr>
          </a:lstStyle>
          <a:p>
            <a:pPr eaLnBrk="1" hangingPunct="1">
              <a:spcBef>
                <a:spcPct val="0"/>
              </a:spcBef>
              <a:buFontTx/>
              <a:buNone/>
            </a:pPr>
            <a:endParaRPr lang="da-DK" altLang="da-DK" sz="1800">
              <a:solidFill>
                <a:schemeClr val="tx1"/>
              </a:solidFill>
              <a:latin typeface="Times New Roman" panose="02020603050405020304" pitchFamily="18" charset="0"/>
            </a:endParaRPr>
          </a:p>
        </p:txBody>
      </p:sp>
      <p:sp>
        <p:nvSpPr>
          <p:cNvPr id="29702" name="AutoShape 6" descr="data:image/jpeg;base64,/9j/4AAQSkZJRgABAQAAAQABAAD/2wCEAAkGBxMSEhQUEhMVFRUWGBQWFxUVGBcYFxcVGBcWFhQVFBcYHCggGBslHBQUITEhJSkrLi4uFx8zODMsNygtLisBCgoKDg0OFRAQGiwcHBwsLCwsLCwsLCwsLCwsLCssLCwsLCwsLCwrLCwsLDcsLCw3LCwrLCs3Kys3KzcrKysrLP/AABEIALEBHAMBIgACEQEDEQH/xAAbAAABBQEBAAAAAAAAAAAAAAAEAAECAwUGB//EAEIQAAEDAQUFBAcFCAEEAwAAAAEAAhEDBBIhMVEFQWFxgQYUkaETIjKxwdHwQlJicuEVIzNDU4KS8dJzosLDB7Kz/8QAGAEBAQEBAQAAAAAAAAAAAAAAAAECAwT/xAAiEQACAgEFAQEBAQEAAAAAAAAAAQIREgMhMUFREyJhoRT/2gAMAwEAAhEDEQA/APWlIID9osUhtBi64S8OOcQ2UkGLexS7+zVMJeFziFykhe/M1S76zVTB+DOIUE6F76zVP3xmqYvwZx9CkkN3xmqXfGapi/C5x9CUkP3tmqXe26pi/BlH0ISVHe26pd7bqmL8GUfQiUpQ/em6p+9N1TF+DKPpfKUqjvTdUu9N1TF+DKPpfKUqjvTdU3e26pi/BlH0IlKUP3tmqXe26pi/BlH0IlKUP3puqXem6pixlH0vlJUd7bql3tmqYvwZR9L0kP3xmqXfGapi/BlH0ISQxtjNU3fGapi/CZx9CUkL31mqbvzNUwfgzj6FymQvfmapjtBiYS8GcfQpJBnaDE37SYrhLwn0XpxwtymLauWbtBykNpO1Xv2PLidSLapC1LmG7SdqPBTbtF3BCUdL3kp+8rmhtBymLcUoUdD3vil3risFttKn3xBTNzvfFP3visVtub90+KY24fdPigo2+9cUu9LG7+z8Xgm/aDfxeCbCjb71xSFp4rF7+DkVPvPFKJRr964pxa+JWKbVxTd6OqUKNvvZ1KcWs6lYXeTqrG1XHJKRaNnvnNMbYdViurkb1HvR1SkKNzvZTd6Oqw+9nVMLYUolG73o6pu8nVYnezqo99VpCje70eKXelgm3jXzS77olIG8bVxUTaTqsM2xN3zglItG73rikLTxWB3zgn75wSiUbptPFR71xWGbYFDvwSkKN/vfFRNr4rCO0G6hR7+NR4pSFG73xN3xYgtfFLvSuwpmAHKTXocPT31ys7UFX1EVVVeT3gliggVFNtZCB8J21VbJQYKqf0yDFZP6UJYoN9MUvTFCCorWOB+0OqWKLfSqXpURR2aX5VKZ6qT9lx7VamOqmRAYVE/pOKeoyi3+de/K0/FRp16Iz9IfAK5AmKp1S70dFe3aFmH8lxP5kPU2rTEltFg4uJKZCife4VrKs745/os2pt8DIU+jQk/tU6IaQ38rQCpkMWHPrgb1Q+2aSsd21JMwSeJS/agP2PNXNDBmq61HVQFV2qzf2l+HzTut8GIHuTNFwZoOrcUr4QPeRmAY8YUmVG53gmSJi0Fl+ai2qFWx3JMQFbFFxqcfNN3mN6pu6ZJroSxTCBajqmNodqqHqIPEJYovNQneq/SYqF7ikXJZSV8JByrCi5CFhfonDzqqk0pYKMd5SDjxQ97kmNTj4LjkdcQwPdp5hI1OXigRUSmcypkXELNoHBRFo0hUGmldgJmXEvFac3BT9INZQD3iU08/BMiUaIrt1UTahuxQTYVgqxomQovNqccgmFpcNEKag1TXzulTIYmh306BV1LcUE5pGZTNITIYhLrW45EqkuJzKnKrGSZFxHDEgBvUazsM/rimpY71LFExwUS/RWNs7jjdPAkEDxV4soAgmTwIw6yligZoJyVprAbrxyk/BO5j4hogeKh+zKpyY7mGu+AU5LshGo7Iz8lFzp3yrzsyt/TcOJa/5Kt9hqAacPW+SAZj3NxaXDkiG7YqjAuB5gBBuo1IiPrqmZSfGLZ6iVbZKRqU9qlwPqTvm6D7skmbSafudR8llGk9uJDhljiqHPP+1cxijffaRoOYOCg2oJ4lYTXI+x12DGoX8mkZdVfoTA1qVKDD2OAxkmRGGCiHsmDI5n3pbPpsq/zqgzkOaHxlH2gSERTsT3khtOg6NX1GO6iCAeqz9S/Moq0YxE3dWkHx06qNOztef4objEOHnhuVrtnWiiZNK6dwLwcDzCptNqBaZs9RrvvMgic5IHRVangw9LKmzngS1zHCYnEY9QgXuIMR5K6jtKk0gODyN8tukeMyiXbUswyLvEjyup9Gg9NGP6blglVq/QQMnl0UwTxXKzoXh+ahJKbGEx4q2Qt9NhEp/Sk7lQRHJSD8MJ8UstFwp/XyUCVE1FEH/Z0SxQ5qKN8c+SIsuza1USxpunI5AnmcEbT7M1vtYcIPvMBLRDKGOScVIzzXS2bstMSCeZEHwHxWpZ+y7BiWt8AffKZGXJHDMJccAT0Rdn2XXqGGUnGOg6k5Lvamwab2kPvEHiY6aLRsljYwQ0RkpkzOaOGs/ZKu6LxYwcSXnwb81qWXsW3+ZUe78oDB5yV2DU8puR6hiWbsrZ2/yweLy53xjyWhT2TSbk0D8oA9wRkpSpRnNgjtk0TBLAeePvVrLBTGVNo6BXylKpLIig3QeAVjWwolyC2lbgGljTdeMbzvZI0n7J54KNmoKw8xvhQNWmM7nkvO9tVbQ0w99QTiMSAR+GMCOSxRWM4knmSVpI6NHqta2Wce0aXWFmWq22H7RpnkPkuABlSaxxyaTyVr+ijsG2yxA+oCeABg9Cqbb2eo2t3pKI9FAF6m3GfxAbjqAsGyWSqThTd4FdLsvZ9oEyyAQR6xAHvlcpyS7OkIvwwanZYB9wvcCcrzSBOklaNj7DUnA+ktIpOG5xGPEYZLt9j0HsbFV1/CIMkeaa3bPoOxuMadWm6fL5Lzf9DT3O/yTRx7ezDrL69OtSrmYDWH1hhN4yDhh7laLbaabpq0DUa0eq1pYy87GJ/1vW3W2eB/DLp4SD/kBkiK1jaTeqkiMYkAHiVXrIfM5a3vq1HufN4nG7N1zRpdlZ1o2iabfaAx3EA+AMHyXS7a23Z2tExAMB5Hraw2MSvOO0e1WV6l5lMNAwJ3uP3jHNb0230ZlSOkpbUo1GkVSy9udgD105qTrdZTmGmMMADhzC4VpGGJSM6ldKMZbBTK30Vc48QOAx+CHaCpl0ZLRCBcSJlO2tlh4FMCNUwxMAEncBj7kslFrjOsaj4yoVCRhOIWpYuztqqxdpEcXGFss7EVWi9WqsaBnALjyGIkrP0ijSg2cuxoww8V2fYTYlJ59NXbeGPo2Zg3T6zyN/DjKbZ3Zak4kkuLG+05xgYZgAZnr4obaW1SyoDR9QMwYG5ADCI3hE8tkGseTtatW8Td9UZQM44nNQZSA3LnLH2i9L9prKn3X/w3cnzNM8MRyRzdvNa67WY6k7j6zeYI3ccVUqOEot72bICkEPQtTHiWODh+Ez5ZjwVwctWcmmixOFXKeVSFiUqsOTyoCyUpVcpSqCy8mvKMpShCV5U1qQdmrJTFKBl1rDAIbF05tIBaebTh7jxQdlsFlDv31EtGrMW8y32h0vLfIVVSiHZrLhZ0jquLCKdgsoaHUmNeDvaQQDx0V1Ox0hADQI8PBZVnsno6l9hOJx167nDgfFdEaYEEgScDGMHd0Xi1YSh2e/R1VPoxLVtQUHXXUxwIOBGo0RVC20qkAAidJ94Kt2vsZlZsHBwyOnPgue2fZq1Ivp3QTBLXaEZY71y2kv6duGdBdpsGJj87vmqa22aFMe0MN7YjDjguL7YWh7aIczAOPrHeeEnELz6vVcTiSZM5yusNC92znLUro9P2321o3SGPPNmLvkPFchaO05zYwk61TeI6ZLnd2IlIY4jwXojpxijk5tl1qrvrOvPcSTvPw0VIGKkAd6gAd4K6HNlrHzr8FJpHNVB+8eCRIQo7apJwSNTDEqo1NNPeoVTJ11OahQi+Mp5rsezNVjWgsDTjJkS7DXVcK4RmjLHaXM9Zro5HNYkrRqLo9c/bZJE+ruwEhPtCuHtZdqX7pN4DPKJjguBsXaj74x1HyXR2G306rZBDuG8LzOLi7OykmF2iq6nZA3QkXm4gtJJvGMuq42sDMrtGNg4PcASJE585QO0tnMccm/mb6p8sPJdtPVjE5T03I5QFaNj2sQBTqtFWn91xN5v/AE3Zt93BXVNimPVdrgR8kDaNm1GCbsjVuI6xl1Xp+kZdnFwkg91ikekszy4DEtGFRnNozHEKyydpq7PaIqD8eJ/yGPmsWk9zCHMJDhiC3MLUFtpWjCv+7qf1mj1T/wBVg94T/SUdDY+1VJ3th1M8fWb4jEea2rPaWvEsIeNWm94gYjqF5zb9nVKMXgC0+y9hljvyu/0eCHpVS0yCQRkRmlLoy4o9RD5T3lwVHtRXbmQ/84k/5Z+aPo9sB9ukf7XfA/NKZjA668nvLmWdrqJ3VBzaD5td8EQ3tPQ++Orag/8AFQmDN68mvLFHaOz/ANRv/d/xTntDZ/6rf+7/AIpYwZs3krywndpbP/UHQP8A+KpqdrKAyvHk35uCu4+bOjvJ24mBmVyb+1zfs0yfzGPJvzUD2hqvEAhgOYYInmcyls0tNdnZ1qzaX4qmm5vPUobZ+0iKkPODsCT5FYVgtN4R5q+YxXGW/J6IquDq7LtIOe6m/wBR7SARuIPsniDhisyq2rTtBLou79wg71nULSa9YPDSQxno5+87Qaxqujtt/wBE4faumDumPevHNKL27PVF2jkNt2dtWjUZgRLrp3YZR4ry91MgwdxgL0baVZwpAMwkhvIH9SVz9q7OvLiADIAyBgyJmNOK9UHSOMlZzd3GNEp89VvP7KVQJYQdW5Hflgsq07NqNOLSPDyErakmYcWgYNwGSeJETB+oTVWOBxBGG8Qk06K2QrbB/QKcN3uVWIzjekG8EsFTG78/JSPLE4SCldkjD63qZeBuSwOGDInPqoPjdCg0EyfBTugIUYMy+uqvZayw+q4jdgc/BUOqb8FBtM7zEY/ooDaZ2gq5TOR5Ee9a9k7QguN764rjiNM0pM581lwTKpNHoln25SjF0Yoiltyi4zPwJ5Lzdk4Tx3rruz/Ya321gqUqJbTmA+oQwOGrZxI4wsfJGszcriy1juk7x6rueGB6hZlq2CZ/dva/g6GnoZIJ6hFn/wCNdo0XB3ow8AZseCThlGaJ2Zs21MaHVaL2AySDi5o3AtGPklzjxuPzLkwrNa6tmJY5puuzpVQbjhw+YV77LRriaDgx++jUP/5vODuRgrZt1pvOYAaTmHCpMlrR96HNgjUjFD2/s9S9IbogZh9JxfTdvBaCZA5Houi1O3sZcL43OXtFBzCWvBa4biIKHvcV1FXZtVrYe70lMZFwvhvIyHM8kA7YAeR6N5bP4S9vhMgdV0WqjD02Y14p7617X2TrsE32PGGLWu92qHr9nLYAP3bXtMY04vNO9jsJnEfQVWpF9kcGujPvmEym+w124OoVR/aSPFsqFx8kejfh+B0Hlhit2ZoiUgErj/6b/wDEq+lYazsqL41IgeJS0MWNRPFaFnf1VVLZFWcmjheBPg2Vr2Hs894m/wCDY83fJc5akfTa05ErFaIiSj2F1dwDZDMJOvBup9yssexGA+sRlOPrYdYB8Ct7ZNek0SbsjAOnxjTkF59TV8O0NP0J2fYxQAJEHIAfZGnE6lFW/aPoxJaXDfHyQ9XatAwTUbhulY+19tUz9r1Ru3u6LzKLk7Z2tIEtlQPBe67dJiDhAOIjVCegMgscYG6YO/xzQ9s2kKt0BmAyxwM8AibC0gS6GgYmc+gXpXBzZXtDawZSN6Q7AC+MRhudogKFo9LdY8MeBEOngFT2n2vT9kAOxmNBpPh4rnO6tOLHPpEgm684dHDdzC0kqMN77HQ7Xszmfw5F0wYF4CeChsmy06hIf6FpHsyM9QRuWHQ2raaTS5rzdOBMTiMs8kUO1IeIr0WVOPsnxGKy4XwaU12dKeyTKjZYWQRBEzB3oKp2ObrUyxDZIB0kNKhYNsWdovU6zqOrHy4eMea6Gz7WY5oIqSMRN8YwcTmFzeaOiwZ5XPgkRjwS5JSAvSeYcmMAna4AYqqcU7WICTX6J+M5po3BIuyUAxOGCk1uvMnRNkDPQaDimDpBxzSwdF2dt9jY8tewFxaIfVEgEYi6Ad8njgugZbxZYdRt1qGQAvl1MOO4NdjGHRebWnGIxM9FZVtNQketGOXLALOO+xbPaB28tLaRm12Z7TAmqC0jh6pF7qQs7aNtfXg1rU94wIbF1jdCymzCOJkrh6VSn6rnMa475HmOK6iy7Yb6OaV5u5zZBx1HDgszk+jpCK7NAWak8F5MkiHPBLCRhnEaI2y1rO1jWB8BvqtxxwxiTiVzlSt+6IMy7EHcNZWRRY0EugHjv81lRyW5tyx4OwqbVs1F4iq5xO6SQOZAMK6l2js5xAg6GZHA+quPbVBOIA4pyQc+mGa1giObOys/aNgcZa2Jzk4YYZpWftM3GaUOxm6cDvkHzXFAnQcyrrPXuuw3EGPkmCCkzdtW12PqCoKVIO3F169H9phVV9qF0SyjnMQ/zxVFuDbxgRgCJzBjJB1arRGGK5ZUdFGw4298YNpAfha4HxDlk23a9yswkMIGYgnric1Vb7S4DKBquargl17E4kdAukP1yc9T88HoeytsirRvMaA8ZgbjylCV9q1fRlzvRAhzomRLdMcN/VcIx+BicfcpU6tQtLJJkzGM+fJa+aRzc2dAztG4fZZMb2zv5oJ3aBweXBrYJ9gtw8JWXddkMCn9AZ9Yc4PmtJIzkzZZ2heRgxn+I+aHrbdqnAFg5NAhZ3oxukeOHNOaZE44z4jhirSFs0h2ktIGBEatDZQj7fWeTL3E8TH6KgT/AL4JPwM5GNxlCWV2pzzN8YyDJz8dFYdsOvTDHC6ALwkD9VBrpOOKsfSY4ZHDVXYDNt5c0zMk448FQxoIxTimJ9VSeMIjXFNugVkGIHgqSBvCK9Ebx3ack7hjkfJCES6BgE3PeleHj9FXOrNu5clCkG08JO9KeqhBP6pQUBEvJTjcp0qQieqcNzMIKIXddVO4MFbTbJ3/AKqLBjDhlyy18lC0MaYb1xyUGCJP1O5Te6T9HBRBnHSI6IC+pVN3fP180fsR0kHPHl/tAUxf9XecFu2eh6NrWxMb941WW+jUTWt1oFdrGhjadxt28Pt8XDVY42TVGVUeCKsxg5ouVpbFe5kfsmvuqT1+ahVslqGRJ/xW3eS9JvlWyUcvWdaRN6+OkDkt3s3RrOLTVpuAGIccoiR8FKptJgke17vNNS206QIF3RGmwqQdbabi8z571m2p5aRI3jNag2q0tJuicoP1kuY2lanl0ZycpwxiMDlErhhbOz1KQ1ttPpDdwjTUoSpUaBABGeWHxSoPJc1u8OIxGe9WVmn1hABM6cPJdeNjg3e7BGxez0wBgjUrRbVgYkQBgR7X6oKtTum8dI18FK5heDTAHDzVIJ9dpJLcZJmcOqpcwiSN/Hr8FOm0OkzBABAgbxOOqsa0kMdJ3nIYHJBRQ1t4ERiYPzxV1QA8DMRHLBWXIBBIJBEdclXegH805QgoTGENxxxOkiZUS3LhG/fP6IioQ5hxGc4ZiNecKNZg3b9x5oWge5eeZAwAjrKi+icMhPxlTFaHcOOCtFSTkJ5ylkBX0zv4/Uqt2WA6q+s4ExG4jrlKmyl6oEj61VsUVQ3M4u1lQuNMHEKy0ARlqoU8t6EB6LMsFcGjqpsZmeim6nGW8eShSoiIk5qdCmC4gnLNSp0gQJOLcuuSZzYxOZ+ggIBsA8yr3nJOymZ4AZecqDwMvPoTl0ULQ5eMY5qt7QC6STIjDrgpOZAGGJHjimdZiAIl0mcDj4ICVCiAMs5zPL5lTdShkjLI7pkypU6DgXbogmc8U9GkSbmUjnhjijYoz6Ly0tkRx65rpKbTcLxLsp5LI2jRxEkYQBEYjd5Le2a6ad1xxIgZdJOqj6ZuC5QLe3n/AEj7Nag4Z4hZVqpuaYcCPchr0nOOK3yZN6vbms4n3c0BWrF2J8NypBCkGXRJwHLE8AE4HJG6TkJUapAE5/Dqmq15EeyJ+iSptsoLWyCbx1gQAs5FxB+8Oyn9MlM3g95jABxJOoaCIVmAc+9hnkd5wAHgqwwiTeIG5uY6+alkopsdW+5skTEzGHmmuEkyTG7jvUrO0B03CDrEjXwV7TIEgDE5YThmqyA9dvqDPHGM/wDStsdFpkZbukY/FJznTIAiPiPgFUHgGcsjxxQFtrs8FxYfVAbM5gGIHgiKlO8A1pAM7sjvhNSAdBnCAXdOHgqwcSQ6JIg9Afks2aottNMXbxN0m6BliZwmUMBIcIOGMczhCkapeS2oJghzTlBHJQLYviCTr5qojEG4GfLPAFQvzhnBEYBSpeyDO8GOBUaLmk5gQd+GOP6KkGY7Pfl7sSq72GWO8q+qwtOAk54dc0K0PuAtE5k+aAkAWmW665qyrabxIfqMswMJ5qtpc6MLpnd8kwYW5kHPGIPVUInXqwIAEHI7+qcsJyPmM/BQphrm5wZUS8j7XiD8EIXO+ajTy8fekkhSull1+SlaPa8PekkhOgyy/AIA/L3FJJZRph9P2qXN3vCos3tN/MUkkKH2r5/BDWf+L0HvTJLPRWD2v2mfW8rfsuQ/M73BJJV8Fhyye2sn/wBi5zd1SSWocGJchlmzH1ortofxjySSSRqPAHUz6/Bam6n+X5JJLDL2Y9t/9g9yMrZvTpLSMdkKfspqubOQ9ySSAhbtyF2j7Tfys9ySSpGX7N9no7/6oo+z9aNSSWTS4Bx/E/yUnZ/2n3pJLRkro+y3p7wh7T9rp7k6SA0mfa/Kz3uVNj+J+KSSIpK27uZ+KjbfYHIe4pJIGZVPei6OX1oEklTJ/9k="/>
          <p:cNvSpPr>
            <a:spLocks noChangeAspect="1" noChangeArrowheads="1"/>
          </p:cNvSpPr>
          <p:nvPr/>
        </p:nvSpPr>
        <p:spPr bwMode="auto">
          <a:xfrm>
            <a:off x="1371600" y="91679"/>
            <a:ext cx="2286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400">
                <a:solidFill>
                  <a:schemeClr val="bg2"/>
                </a:solidFill>
                <a:latin typeface="TrueGillSansOneBold" pitchFamily="2" charset="0"/>
                <a:ea typeface="MS PGothic" panose="020B0600070205080204" pitchFamily="34" charset="-128"/>
              </a:defRPr>
            </a:lvl1pPr>
            <a:lvl2pPr marL="742950" indent="-285750">
              <a:spcBef>
                <a:spcPct val="20000"/>
              </a:spcBef>
              <a:buChar char="–"/>
              <a:defRPr sz="2000">
                <a:solidFill>
                  <a:schemeClr val="bg2"/>
                </a:solidFill>
                <a:latin typeface="TrueGillSansOneBold" pitchFamily="2" charset="0"/>
                <a:ea typeface="MS PGothic" panose="020B0600070205080204" pitchFamily="34" charset="-128"/>
              </a:defRPr>
            </a:lvl2pPr>
            <a:lvl3pPr marL="1143000" indent="-228600">
              <a:spcBef>
                <a:spcPct val="20000"/>
              </a:spcBef>
              <a:buChar char="•"/>
              <a:defRPr sz="1600">
                <a:solidFill>
                  <a:schemeClr val="bg2"/>
                </a:solidFill>
                <a:latin typeface="TrueGillSansOneBold" pitchFamily="2" charset="0"/>
                <a:ea typeface="MS PGothic" panose="020B0600070205080204" pitchFamily="34" charset="-128"/>
              </a:defRPr>
            </a:lvl3pPr>
            <a:lvl4pPr marL="1600200" indent="-228600">
              <a:spcBef>
                <a:spcPct val="20000"/>
              </a:spcBef>
              <a:buChar char="–"/>
              <a:defRPr sz="1400">
                <a:solidFill>
                  <a:schemeClr val="bg2"/>
                </a:solidFill>
                <a:latin typeface="TrueGillSansOneBold" pitchFamily="2" charset="0"/>
                <a:ea typeface="MS PGothic" panose="020B0600070205080204" pitchFamily="34" charset="-128"/>
              </a:defRPr>
            </a:lvl4pPr>
            <a:lvl5pPr marL="2057400" indent="-228600">
              <a:spcBef>
                <a:spcPct val="20000"/>
              </a:spcBef>
              <a:buChar char="»"/>
              <a:defRPr sz="1400">
                <a:solidFill>
                  <a:schemeClr val="bg2"/>
                </a:solidFill>
                <a:latin typeface="TrueGillSansOneBold" pitchFamily="2"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bg2"/>
                </a:solidFill>
                <a:latin typeface="TrueGillSansOneBold" pitchFamily="2"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bg2"/>
                </a:solidFill>
                <a:latin typeface="TrueGillSansOneBold" pitchFamily="2"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bg2"/>
                </a:solidFill>
                <a:latin typeface="TrueGillSansOneBold" pitchFamily="2"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bg2"/>
                </a:solidFill>
                <a:latin typeface="TrueGillSansOneBold" pitchFamily="2" charset="0"/>
                <a:ea typeface="MS PGothic" panose="020B0600070205080204" pitchFamily="34" charset="-128"/>
              </a:defRPr>
            </a:lvl9pPr>
          </a:lstStyle>
          <a:p>
            <a:pPr eaLnBrk="1" hangingPunct="1">
              <a:spcBef>
                <a:spcPct val="0"/>
              </a:spcBef>
              <a:buFontTx/>
              <a:buNone/>
            </a:pPr>
            <a:endParaRPr lang="da-DK" altLang="da-DK" sz="1800">
              <a:solidFill>
                <a:schemeClr val="tx1"/>
              </a:solidFill>
              <a:latin typeface="Times New Roman" panose="02020603050405020304" pitchFamily="18" charset="0"/>
            </a:endParaRPr>
          </a:p>
        </p:txBody>
      </p:sp>
      <p:pic>
        <p:nvPicPr>
          <p:cNvPr id="29703"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3000" y="1926514"/>
            <a:ext cx="2014538" cy="1257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704"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2935" y="3300474"/>
            <a:ext cx="2135981" cy="1200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705" name="AutoShape 10" descr="data:image/jpeg;base64,/9j/4AAQSkZJRgABAQAAAQABAAD/2wCEAAkGBxQTEhQUEhQVFRUUFRUUFxUXFBUWFBUUFBUXFhQUFBQYHCggGBolHBQUITEhJSkrLi4uFx8zODMsNygtLisBCgoKDg0OFxAQGywkHCQsLCwsLCwsLCwsLCwsLCwsLCwsLCwsLCwsLCwsLCwsLCwsLCwsLCwsMCwsLCwsLCwsLP/AABEIAMIBAwMBIgACEQEDEQH/xAAbAAACAwEBAQAAAAAAAAAAAAADBAECBQAGB//EAEwQAAEDAQQHBQENBgQDCQAAAAEAAgMRBBIhMQUTQVFhcZEiMoGhsQYUIzNCUlNykrLB0dLwFUNigqLCVJPh8XODoxY0Y2R0hJSz0//EABgBAQEBAQEAAAAAAAAAAAAAAAABAgME/8QALBEBAQEAAQIEAwcFAAAAAAAAAAERAhIhAzFBUSLw8QQUcZGh0eEyUmGxwf/aAAwDAQACEQMRAD8A+ihQ5oRGqHBdQpLEEjLEtKRqSlaiFLisI0YMRGsQLBpTMDTtTEcYRQgG0JiMqG0RGuCmjg3eVYAKryoAU1V7qTtQc3EZJlyu0qzliWaytY85V6IZvcVs6onYhSWMc+FV1niRzvCspjiMUZtqOwJmWwgZNKXMZ2AjmFreNZywVlqO0Jhk1VnODtqvGab1LwiznWhfXXkmLRirk1yPmsdLfUYMi6+EpdO8Lru8p0p1DPmAUCcFRq8M0MWamTlextNteFdqWig3lFGCzWpRqqCFUFSstIIVSxXAUKaB6sLlYlcqgDZ0RsqyWyo0cqofcKoToVDJ0UShQDZZ0X3OoEiM16loEYlS/RM1QSyqaBOlRIygTx0QmSKofvIl5JtkquEimKckchNlxQnTITnlMGkLSh+6qJFpVXVTINUTYVCrrKmizWymiPZKlw4Jhpx0aCLOK4pxQFJysMLGAblGpbuUyOoaKocrtMiDCNijUo8bgiBOqnTCDrOVwjdXJPlVvK9dTphehUCMpglVJTqXFVNVBKE9yApkQ9chlVcmC5cuQaqVQmKK7JAggIbwgbZL4pmJoKymOTUcyVIbLAiMfRBZKCocNyypwSKt8JQSUXF+KmA1opRIuKavJO0OViURr6ZKwkSYkVw9aDMpqpiegiVS2QLKiSKIjUocj0SzFX0DUIrmmIm0NVzKbKKr2rOqZEqkvQGKaqCHNQnsRxxUOTQFr0xFIlyxQ9xaqhouKk0Kzza0SO0JlNMuKiqWE4KMxPISVR6l7kJxVgguQlYlXZiqBBy5FcwLk0Y4lXGVIBxU31pnTBKsJEqXlRrCiafbOmGWqix7xV2uKmLK1X2gFQJlnXl15TF1outCBNNVJl6i+riaKZVItCDeXVQMiZTrUABcWqKOZ1dloSurXatOx3aTLYmY7ZXCqxmtKNGaKZDWz7oG9cZlliREEymLrQ16nWrP1qsJExNaDZVSd2CUbKitlRSxBJVqkJi+EJzwVdTAb9CmrPaSg3gquPFA420K7cVmudRWFpKYaek4IbZjklDaCo1yuGnv1muSPuhSmHUzw1dcU1UFyzrSKKpCteVapqOClcuTRBCqVdQU0wM1XK6hXqMUqpBVqKQE6kxAKI0qA1XCmrizVYqtV1VBIKlxUVQ5z2TyV0FCsVWqsCrqY4KwXBcE1MXBVw5DqoDlNVdxVCVWR+XE/cT9y4lNSuL0MyqxQ3LWogzKutU0XUV2JiNaV2tKtRRRNXE6xcoXJphO3WvVxvfStxjn0rSt0E0rsyWX7Oaf91NeSy5cIHevVqCa5CmSxbZpdxjcxwwcCDjiRkQSMRmktFTCPWasAA0qLxzaNxO87ljG3v76BK/3xnJ/3LzcOnDgCRUY0xrt20TdmfaJXt1bHGlcaENGIqC4igyyQeiD1N5L2bRFqd3i1g3Fwc4fVbTzTY0FJWpn2ZXNu/NQUvKt5WfoSXZMCeLbo8iUk7RE7T8UimYcXccsD5FA5eXXlh220SRuALqbLtMeZqV1nbapiLlcDWty6PrVptTDW9VSCqWfQc5HblA5Cv4Ir/ZkO70zzTdQbQa+SCA5TeUyaBfWrZyOBYD51Sr9EWkZSMf1ael2nmmKZvLryydTamk6xtBsJIujxYT50R7NZ531o0AD4xc4Nx3HMhMQ+JNyFaJeyeIV4tAO+O9oBzDQ4jqSPRFPs/GRQyONMBiMOVaoqA9WD1T/ALP9qomkp8kgU8MqJh+gWkEF8mP8TendRABam1IrkaK4ly4hDb7MtFffpMfoGmWIw4Ic3sySMLTJwJDSR0ogLJamhzWnN2WG5EvrLi9kO00yWiQ3SSKCjiTvc4nyWwzREdKXpPF/4BELzygXa7/7Sra0b1DvZthFDLLTdebyzuqZfZ6I0GslFAMnN4Z9ngi4ALY01oRhQeJwHmQEI28X7paQNjz3Sdw8+iHP7ItzjtEjSMQXBjgDWtaAN2ojNBEj32W8NgYy66u+8XZ4nCm1NSxPu1m8dR8q7j1VorYx1aHKvlmlpdG2UYOfNszzwxr3f1RZs2iYS46i0SMeflMBb17NFdhjadbG7wcd/CuCqLcy8RXIgVrUGoB+9ZVl9nn1OttjBtFwAjDeDTYmovZezB182mQk59uMA+F2vmmwFfpaIGheMOBPmAuVm6As4FBaH0+lD+Rcpo+TQ213ay7QxwGHaDiRuxCcsGnHRtlBAcXg0Jp2XmgvUpjgFl36/Fw5URCxoGYPD/VY0PaHtznWiMvcSO6aiooASAGjjjgvet01dFBNQDZRw8l4DQIb7ojIzvfccl9EG3irGpnqCdPf+YHU/ihyadNRS0eFTTpVMlyFK7LmFV7fP0U/bO3XOPK8hv0yaj3yU1Oxsp2HKjeARyUOQ4t5/cVDt8/RDLXfIDi4j/xWuDSdneAWlHbpRgHCnCn4JJrA40cA4UOBAIy3FCk0TDhSGPPHsNGHRVfhap0jPv8AT8qqdJT/ACvT8qzDoiD5pnRUOiYPmm9EM4+9/L+WgdJ2gO7+BrhRop43VLtIzfL9PwWS7RUNR72zGuzkr/smD5qP6gUX4fe/l/J2TTEoIrKMTTOlMCd/AKIraXVIvSbywsoDuNXZpE2CIFtI4xj8hvyTwWnZAA0gAAV2YInwhutLsKNkGIxcGUodmBKeFue0XQMDUHBmRFOZzSlqbebSpFS3EGhHaGIO9AdYHjK0S+OrP9qGS/4bB01Lu37B+ZUdpyTd0A+96xH2aUED3Q7HfFHspw4rnWSf/Ef9Fn4ovTP7p+v7Nn9uS7vIfmVHacmpgBXGlWin2li+5Z/8QP8AJZ+Kg2Wb/Ef9Fn4odM95+v7NRmnpjUEZGmDW0yrjV3Fd+2Zt/k3/AFWI2yyku9/dnsjjxwHD9UVjYX7Z5fC4P7UOme/+/wBj79KPLjfNAKdoAbcsGtzw81Q6Tb8676rvypawWW7KTfe43fjOrnXZktIuRn4SMmkGH94/6r/yoPu8UFXSHDZG8+jMVoFyCw9kcghvH5v8AWOQPcQQ4i7XtsIFa5i8Oacs9naXmnZwzaG1z4ghKOmuurRxwp2QSc9wRtF2m9Iey8dn4zSNuyvNE03JYzT4R/i2H/8ANKw2dxGMjtlOzHj/AELSkyPJLxjsjLqFTqKOsX8Z+pF+Rcm7pXIbXz9mg5iMGnDGlHDZxFEeP2TndtArxr6L6hPGxwxBx2tJaa5bFg6T0SQHEPvNAODtmBPieiXjYnZ5jR3sw6KVjy8dlwwpSuzDqvW3uK8pZHxg1L6HYQMjsNHBPwTS3nOjuPyHddjx7LiB0WZdasbRcgzH1HqEky0THJrP62jqQl7XaZQBUwjEfGc49Gq6jWvIUrsuYWLLpB4GMjP5WOd6kJd9udte48mBvq8+imxceogPbHj6JsrzOibaA8Oe5wbiLz3NDQTlk0BbctsoWgCocQLwxHkrKhlxVCVJKG4oKPOI8VclAldi3x9CudMBtHVBMpxbz/tKYs78Csq0aQjBbVwGNccBSh2lJ2i2h9DGHPAzuuoPQ3t/RB6F78uY9QmnFeY0UHXgXNmGObi/V9DhmvTEpLpVCFVxUuKoSggqhKklUJQCZm7n/aFZxQmZu5/cFLigrC73w8h/cmHOWa+0XHOdQuwbgKVxLt5AVDpUfNy9G/mQaJchsd2RyHos2TTAGccmPBn5kIaXwoGZYVL2NGXMqaGrXFfkiaRUXgXY0w241rTHYnLDZ5anVNqboFDg0Y1oWNBDc9mdFm6KmEs7NYWi7UtDSXG8RQEmmQXt7FaA2mGABxbkMsxsKYgFk0TK4++SRgfJY0l/iS6g27CtazaKjYMr3F1D5ZeSqy1tczvNPZyIocuP4JkuG7of9lsFDVyXbIN7v6lyDxh0tI4bBkcqnqUvabYaG84k0wBNSTso1ZFngkcBekNKZNFPNPWextaDQY0OJ5K1qzjPUkdMsPfgjPEAD7vvRX2+zyd9kg/ncR5uPosCq6q82jeZFZsmTPZzw86D1V2aPP7u0tO3HHHqV5+NpcaAEncBU9E43RcxFdW4De8XB1fQK6rSk0ZaN0T/AAbXzAS77JKO9Zq/RJ9GkoENmc0YTsb9GRzzhwhDk2y33M55X8BGwecrq/0phro9JGMXXxPDfkkCmOdagIElos7yDqw3aaMpXxBTp9ogMq8am+TyAawDqUN3tCx3fga4cSCeharo6CASA6qOT6V+drOPayUz6Pcyl9xaNpfaX08h6IkGnIBhq3M5AYciDUeCHILHJiZHgne4/wB4KumRJ0UxwBMtd918kleRcWoc1kgYANTI/mSG/erjQ8Tvg7QB9U/ZIXM9n5W/Bytpzc0dKEJp2IutsbPg4IW8S0uPmVWTS8xyeW8GNa30Cdfo62DI3hwcz76FAkitA70APHV3vMVWbeR2N2OyuFJS50jmkmgcThiDUk7lqN9oIcnl0Z3PY4elQvNG2OZnFdO8F7D5UR2ac33vC677QWpyLNa0umW320kjLSc9YBhyK0G2thyew8nN/FeWltcT6Eim3FjT1oFYPgPxYf8ALLfvV6k6a9OZm/Kb1CG6dvym9QvNPjipW7BTm6vQAqhsV7FsURbTAA06k0PonUdNbgtsYLqvYMdrm7hxSk+nYRk68eFSsn3LIDXVM5dlwHhUq9Zhky6OEeGPgp1yGGHzmcloY4NdTtUIAu1OFaVWZa4LhpUHPgcN4/WRT+omcO04sH8Ru9GgVPRLO1DMyZHbsm9Bj5hZt6vRZC8TSTQAk7gKnoE4LDTGRzWDji7oMB4kJeTSb6UYAxu4Aef+tUoccSa88eiz0wb+h7XG2RrY2ucS4G8aDFoNMMMKE4cV6iXSrC5jGi6a9o5P8a0IHJeK9nyBaIycqmp3VaQK+JC9xarE1/eFfUeOxdeHl2c6xtJ2e0a4lrn3Hd17XijQ1oGrdG4UNSHGvHFOaLtr2BzJC910No6oDjeGTgQpfY3tHYkcODu0PPHzWebRK10l5jX90EtND3R8U8962vVbO700eknEAm8DTIAEDxripWJFpgUxjlB3XCuTYz1M+yk3W8h6JuIJOyd1v0R6JyJbarNFms/xQHHYHyOZ5AD7SG8Pb3YGU3sibJ/U9z/RWfBAO5K/E0uvGANDtIG2mVVx0dNnGwEDaHXeFRXOtCuONkpdLy0ulzxTMXyz+mO6PJJPmJNaCu+6K/WOPmtVtrkrSQgAZ6wBww2AHNKWi2xF1NUCN7asJ8AaBTKFXSE5knmaql5NDUOyc9nBwDh1FFIsFcWSRuHO6f6gB5rOUKKRxTT7BK3ExupvAvDqKhKl/wCsvJQEDm7vIeqhrQf1j5odVIcqqzmjipa9ze65w5Ej0VTJ+sFLZOAxUww2zSM4ykd4uDvWqbg0xaccL1P4MvFtFkuerMlGPe6qjZb7USDB0Y6ketVcafhd8JAD4Md6gLzxK5NR6Btrsbq3mXccOy4YUHyTvqriy2J2Ul3+cj7YXmlJaFNMemGgIXdyWvix3pRDf7LO+LIPFpHoSvN0RY7Q5vdc5vIkeibBtO9n5xk9vg9w9Qgu0VahsJ/nYfUpaHTU7cpCR/EA7zOK07N7TO/eRg8W4Hoc1dht92bNou0O7zXnpTyQxoWb5p3RetsmkWSCrTlmCKEJj3YP0Fc1O9eLOhZvm3DnT8Vo2LQAGMrv5Wkebvw6rdntsYzdicgK3jyCxbfpRrTQ1b/A0gvPM5MUww++ztI1LA1pcDQDM0Fe0fClSkbH7RvhJjlaXBpu7pG02Y5+PVB9ntKGS1MYwXGG8S0EmpDHULnnF2zhkvT6U0NHPi4UdkHjvcjvHNbnG+jpw58J8POdnWLSsM3ceK/JODuhz8EtLHV8uJ77BTCnwbDurtXm9J+zc0eLRrG72jteLM+lUro/SMrNd2j2Wh1HY9oOjaK1xywVnK+rpfs/GzeF17oRLl5eP2ufQVjaTvDiB0x9VC11Rj7r4vsYsndHJOxJGyd3xPqU5GujhfN5WeYNc4AfGIqXccqNp6qgtLscSAaVDcBhwWpbdEElxbQ1cThgcTWlCceo5LIljLTj6dRwXBtpWLTMkYoCCNzmNNRuJbdJ8SU1JpSBxF+ztx7zmG4RyHZr1KwW13frmrA8emKm1eluMsVlkrdlLDukZQDm408iVWT2WeBeiLHjYWPp5uw6FY2u5q8VqLTVvZJ2tq09QQU0ye48sE8BxvsJ2nbydl0RBpeQjtljxue0P8zX1Cmx6akjHZdtB7TWkmhBxcKO2bytGPTEcuEtmY4/KbifMV/qTdOzFn0hGcNUGmoxaXDDbQXiF1n1Th2pCx2ObQWndTEEcqJ7SEVkpVt9p+SCDQ8QSfVZBMYyaXcXE/ZbSnUpkNaH7Pr3JInVyF+44+DwFWfR0jBVzHAb6VHO8MEmbWQKNo0bm4ddp8SojtbwcHZ7+16gqYLKSFcT178Y5tqw9MQfJWYxjsnFvB4/ubUKYAKUw6wyZgXhvab3olpGluYI5gjyURNAuHFDvFRREHdJXY3wQjVPWPREkmIFB8p2HlmVvWLQMbcXds8e74D8aq5aPO2OwPk7jcN5wHU5+C3bLoJjcZHXjuGDR95T1qlZGMbo3AZ+ACy7Xb8K1uN3uxceTf8AdTtFkh6WVkYoMBsA+4DNZ1s0lTbcryLzyGQ8Vl/tIFwaOyDm41Lz9EY4nIc9iLNoxt17i5+BINAHk0DTiTQjvUI2UO5LZP6nbh4PPnxt4ztPwK2nSRyYLtczWrz9JyTYCcSKcj61qnbLYmOcGh4BJAxaRnyr6poaP7JLXsJBAoDvyFTkeCvLn0pw8Pnymye/t6eZv2UYBaGnaQ8k13tPBe5Xk/Z+xat4eTU0cKDIdk412r04mFK8+OWZ5K8PEnfal+zeLZOXT2v1EKw5rIyR04e0G9K1pORu6qE0vDGlQCtgSgmg2fjRZrD2pOM3pHGPuXWWWdnO8Ofh3OUys53snETg+QDdVuHVqlb4Uq5F+8eL7vNwyQNGMjyKn4gbtO91Sul0tZ2GlJSTjTsjrVYbWSSCgDY2nOnePM/7JqGyCMghrnYGtBedmEvJns3bO+Olbj8ccXivkxIaatMLRV0V81oBrXNyrj2d1fNVfNLT3uCUk743gDmSPRZMui7Q81ewj6Ra0DqVhfLyPaTlhilcwWZjqBpq6WU95gdle4pX9qRjKzQ+OtPq9O6csBdIHEtxjjw1sLMQwA4udXZuWeLKRk6zN4unjcfHtEeSII3SZPds1nP/ACnEDmb6s7SYAq6KychFeP2qeaWksZd3p4D/AM2voEI6MBzng+tIfSNSjY0RpNks8cfueABxoTqWVyNKYYY03pA6feRQxWem7UNp0RdB2NrLRC4zxEiRuA11TU0oKxgBBn0dGHOrPGKE4XZq50pTV+igqNMH5iy//Hart0sdkFm8LOz8FUWGL59n1JqfYVjZottoZ4RSflU2mCt0q4Zx2cf+3jr6LRs2lCYZXCOIOjMVKQxjB5cDhd4BZIs0Pz4/y5PwWhYrPHqJwJga6ok6t/Zo80wpjUmmCTQWP2gHx2sqczqYzXxp9yn9qMPd1I+lZ4z9zVle44/n2/5cv4KW6NaTQTtJ/wCHN+RNo0zaH5tjspA2iGMerfvVjppzBjHG8bA2ANZ1oSegQINAAVvzNp/CH4+Jatiz2GJvdLSd5vE+YVUB1XCJ2os3bZefWEVDr7hhlsAzTELYxiIYq7xGB/smbW+MNaXvaBQgYkVNTlgsi21INyWJjflFxqPAtHqhGhadKxsGLW9CPIFJO0yPmWBu8ukBPIArINmDcWSwudte+Zo6VpTyQm2OVxrrInneJ4SPBt9XKGp9NwNd/wB3BO0mWSvhUlRpeeysnkjNnc4tNL2vk3A4VrTNZto9nrS4mkZI+UHxmuHB60tPaIlfaZXNYSCQQQQfijZmrmeRsCsctka8PEMgIr++rmKVxZnjmjiSyAOuslbWuIdES28Lrg0uFceNczSiQboecfuZPqO/BXksLmtN+N5NDRtx9K7yaLjdtdOPjXjMn4mLOLKwhwdaatIOLI3ZGvxSEay2eBwbGJjUvqL9ndW8922ktDsGWSzXh73Bt1xcTQNDT0Df1kvQaG0QGOa6Qhz6tIAPYZUi6a7SSMDt+KHYuG5Or0Tj4t4yyX/rQ0bYgx13WVABHwRblhg7LetbUDDEGhrjvO3JYWjnxe6pGx1LgHlxDqsDr4q3i7HZg2lCSTht1W5w4+ycvtHi+XVXCCmRG3aNpqkWWV9XYZyF2YOFAAcDwThWTE/tHA/CyY7MytySeTny58uXe1q6t3yT0KlBvLlWGdbZC2t0kciR6Lx+ktIy3gNbJt+O7fzULljl5OozHnUl1Te+Vt6rJOJx2rlyxBr6c70X/p4fsLLULlUizVZcuU9Rp6Mwkhph77H9sJW3fDSfTf8AaK5ci1zTh+tyoRioXKKNEMf1xTlj+BtP0Yv/ALGqVyRmkP8AVeosLAGCgA24DapXKcVi02SXkNAaLly1WoqMYoScTSTE4n4R21ef0y86ylTQAYbFy5OCRnkoshpdpuqpXK0jd9lrS8voXuIrleNF7d9kjkDhIxj/AKTQ71C5crw8nK+T5/p1gjLxGAwX6UaLuF0YYKfZa0PdM0Oc4i67AuJGW5cuSt3yeh0JaXl8oL3ECdjQC4kBpY4kAbsMlpWaQlrSSSbsRrXGpLgTzIwUrluJDzLMwdoMaHHNwaATXE1PNQ4LlyM0Jyy48z/xZPUqFyodUrlyMv/Z"/>
          <p:cNvSpPr>
            <a:spLocks noChangeAspect="1" noChangeArrowheads="1"/>
          </p:cNvSpPr>
          <p:nvPr/>
        </p:nvSpPr>
        <p:spPr bwMode="auto">
          <a:xfrm>
            <a:off x="1485900" y="205979"/>
            <a:ext cx="2286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400">
                <a:solidFill>
                  <a:schemeClr val="bg2"/>
                </a:solidFill>
                <a:latin typeface="TrueGillSansOneBold" pitchFamily="2" charset="0"/>
                <a:ea typeface="MS PGothic" panose="020B0600070205080204" pitchFamily="34" charset="-128"/>
              </a:defRPr>
            </a:lvl1pPr>
            <a:lvl2pPr marL="742950" indent="-285750">
              <a:spcBef>
                <a:spcPct val="20000"/>
              </a:spcBef>
              <a:buChar char="–"/>
              <a:defRPr sz="2000">
                <a:solidFill>
                  <a:schemeClr val="bg2"/>
                </a:solidFill>
                <a:latin typeface="TrueGillSansOneBold" pitchFamily="2" charset="0"/>
                <a:ea typeface="MS PGothic" panose="020B0600070205080204" pitchFamily="34" charset="-128"/>
              </a:defRPr>
            </a:lvl2pPr>
            <a:lvl3pPr marL="1143000" indent="-228600">
              <a:spcBef>
                <a:spcPct val="20000"/>
              </a:spcBef>
              <a:buChar char="•"/>
              <a:defRPr sz="1600">
                <a:solidFill>
                  <a:schemeClr val="bg2"/>
                </a:solidFill>
                <a:latin typeface="TrueGillSansOneBold" pitchFamily="2" charset="0"/>
                <a:ea typeface="MS PGothic" panose="020B0600070205080204" pitchFamily="34" charset="-128"/>
              </a:defRPr>
            </a:lvl3pPr>
            <a:lvl4pPr marL="1600200" indent="-228600">
              <a:spcBef>
                <a:spcPct val="20000"/>
              </a:spcBef>
              <a:buChar char="–"/>
              <a:defRPr sz="1400">
                <a:solidFill>
                  <a:schemeClr val="bg2"/>
                </a:solidFill>
                <a:latin typeface="TrueGillSansOneBold" pitchFamily="2" charset="0"/>
                <a:ea typeface="MS PGothic" panose="020B0600070205080204" pitchFamily="34" charset="-128"/>
              </a:defRPr>
            </a:lvl4pPr>
            <a:lvl5pPr marL="2057400" indent="-228600">
              <a:spcBef>
                <a:spcPct val="20000"/>
              </a:spcBef>
              <a:buChar char="»"/>
              <a:defRPr sz="1400">
                <a:solidFill>
                  <a:schemeClr val="bg2"/>
                </a:solidFill>
                <a:latin typeface="TrueGillSansOneBold" pitchFamily="2"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bg2"/>
                </a:solidFill>
                <a:latin typeface="TrueGillSansOneBold" pitchFamily="2"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bg2"/>
                </a:solidFill>
                <a:latin typeface="TrueGillSansOneBold" pitchFamily="2"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bg2"/>
                </a:solidFill>
                <a:latin typeface="TrueGillSansOneBold" pitchFamily="2"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bg2"/>
                </a:solidFill>
                <a:latin typeface="TrueGillSansOneBold" pitchFamily="2" charset="0"/>
                <a:ea typeface="MS PGothic" panose="020B0600070205080204" pitchFamily="34" charset="-128"/>
              </a:defRPr>
            </a:lvl9pPr>
          </a:lstStyle>
          <a:p>
            <a:pPr eaLnBrk="1" hangingPunct="1">
              <a:spcBef>
                <a:spcPct val="0"/>
              </a:spcBef>
              <a:buFontTx/>
              <a:buNone/>
            </a:pPr>
            <a:endParaRPr lang="da-DK" altLang="da-DK" sz="1800">
              <a:solidFill>
                <a:schemeClr val="tx1"/>
              </a:solidFill>
              <a:latin typeface="Times New Roman" panose="02020603050405020304" pitchFamily="18" charset="0"/>
            </a:endParaRPr>
          </a:p>
        </p:txBody>
      </p:sp>
      <p:pic>
        <p:nvPicPr>
          <p:cNvPr id="29706"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10587" y="3710763"/>
            <a:ext cx="1850231" cy="13858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707" name="Rectangle 13"/>
          <p:cNvSpPr>
            <a:spLocks noChangeArrowheads="1"/>
          </p:cNvSpPr>
          <p:nvPr/>
        </p:nvSpPr>
        <p:spPr bwMode="auto">
          <a:xfrm>
            <a:off x="698720" y="978985"/>
            <a:ext cx="1802960" cy="10618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GB" altLang="da-DK" sz="900" b="1" dirty="0"/>
              <a:t>Pump Hydro Storage</a:t>
            </a:r>
          </a:p>
          <a:p>
            <a:pPr algn="ctr"/>
            <a:r>
              <a:rPr lang="en-GB" altLang="da-DK" sz="900" b="1" dirty="0"/>
              <a:t>175 €/kWh </a:t>
            </a:r>
          </a:p>
          <a:p>
            <a:pPr algn="ctr"/>
            <a:r>
              <a:rPr lang="en-GB" altLang="da-DK" sz="900" dirty="0"/>
              <a:t>(Source: </a:t>
            </a:r>
            <a:r>
              <a:rPr lang="en-US" altLang="da-DK" sz="900" dirty="0"/>
              <a:t>Electricity Energy Storage Technology Options: A White Paper Primer on Applications, Costs, and Benefits. Electric Power Research Institute, 2010)</a:t>
            </a:r>
            <a:endParaRPr lang="en-GB" altLang="da-DK" sz="900" dirty="0"/>
          </a:p>
        </p:txBody>
      </p:sp>
      <p:sp>
        <p:nvSpPr>
          <p:cNvPr id="29708" name="Rectangle 13"/>
          <p:cNvSpPr>
            <a:spLocks noChangeArrowheads="1"/>
          </p:cNvSpPr>
          <p:nvPr/>
        </p:nvSpPr>
        <p:spPr bwMode="auto">
          <a:xfrm>
            <a:off x="1588449" y="4187593"/>
            <a:ext cx="1877606" cy="92333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GB" altLang="da-DK" sz="900" b="1" dirty="0"/>
              <a:t>Natural Gas Underground Storage</a:t>
            </a:r>
          </a:p>
          <a:p>
            <a:pPr algn="ctr"/>
            <a:r>
              <a:rPr lang="en-GB" altLang="da-DK" sz="900" b="1" dirty="0"/>
              <a:t>0.05 €/kWh </a:t>
            </a:r>
          </a:p>
          <a:p>
            <a:pPr algn="ctr"/>
            <a:r>
              <a:rPr lang="en-GB" altLang="da-DK" sz="900" dirty="0"/>
              <a:t>(Source: </a:t>
            </a:r>
            <a:r>
              <a:rPr lang="en-US" altLang="da-DK" sz="900" dirty="0"/>
              <a:t>Current State Of and Issues Concerning Underground Natural Gas Storage. Federal Energy Regulatory Commission, 2004)</a:t>
            </a:r>
            <a:endParaRPr lang="en-GB" altLang="da-DK" sz="900" dirty="0"/>
          </a:p>
        </p:txBody>
      </p:sp>
      <p:sp>
        <p:nvSpPr>
          <p:cNvPr id="29709" name="Rectangle 13"/>
          <p:cNvSpPr>
            <a:spLocks noChangeArrowheads="1"/>
          </p:cNvSpPr>
          <p:nvPr/>
        </p:nvSpPr>
        <p:spPr bwMode="auto">
          <a:xfrm>
            <a:off x="6899130" y="3187587"/>
            <a:ext cx="1480996" cy="92333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GB" altLang="da-DK" sz="900" b="1" dirty="0"/>
              <a:t>Oil Tank</a:t>
            </a:r>
          </a:p>
          <a:p>
            <a:pPr algn="ctr"/>
            <a:r>
              <a:rPr lang="en-GB" altLang="da-DK" sz="900" b="1" dirty="0"/>
              <a:t>0.02 €/kWh </a:t>
            </a:r>
          </a:p>
          <a:p>
            <a:pPr algn="ctr"/>
            <a:r>
              <a:rPr lang="en-GB" altLang="da-DK" sz="900" dirty="0"/>
              <a:t>(Source: </a:t>
            </a:r>
            <a:r>
              <a:rPr lang="en-US" altLang="da-DK" sz="900" dirty="0"/>
              <a:t>Dahl KH, Oil tanking Copenhagen A/S, 2013: Oil Storage Tank. 2013)</a:t>
            </a:r>
            <a:endParaRPr lang="en-GB" altLang="da-DK" sz="900" dirty="0"/>
          </a:p>
        </p:txBody>
      </p:sp>
      <p:sp>
        <p:nvSpPr>
          <p:cNvPr id="29710" name="Rectangle 13"/>
          <p:cNvSpPr>
            <a:spLocks noChangeArrowheads="1"/>
          </p:cNvSpPr>
          <p:nvPr/>
        </p:nvSpPr>
        <p:spPr bwMode="auto">
          <a:xfrm>
            <a:off x="6792127" y="880866"/>
            <a:ext cx="1480996" cy="6463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GB" altLang="da-DK" sz="900" b="1" dirty="0"/>
              <a:t>Thermal Storage</a:t>
            </a:r>
          </a:p>
          <a:p>
            <a:pPr algn="ctr"/>
            <a:r>
              <a:rPr lang="en-GB" altLang="da-DK" sz="900" b="1" dirty="0"/>
              <a:t>1-4 €/kWh </a:t>
            </a:r>
          </a:p>
          <a:p>
            <a:pPr algn="ctr"/>
            <a:r>
              <a:rPr lang="en-GB" altLang="da-DK" sz="900" dirty="0"/>
              <a:t>(Source: Danish Technology Catalogue, 2012</a:t>
            </a:r>
            <a:r>
              <a:rPr lang="en-US" altLang="da-DK" sz="900" dirty="0"/>
              <a:t>)</a:t>
            </a:r>
            <a:endParaRPr lang="en-GB" altLang="da-DK" sz="900" dirty="0"/>
          </a:p>
        </p:txBody>
      </p:sp>
      <p:pic>
        <p:nvPicPr>
          <p:cNvPr id="16" name="Picture 1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5587" y="1531739"/>
            <a:ext cx="3684800" cy="23195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4454365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Klimaneutralt Danmark 2045</a:t>
            </a:r>
          </a:p>
        </p:txBody>
      </p:sp>
      <p:pic>
        <p:nvPicPr>
          <p:cNvPr id="5" name="Billede 4"/>
          <p:cNvPicPr>
            <a:picLocks noChangeAspect="1"/>
          </p:cNvPicPr>
          <p:nvPr/>
        </p:nvPicPr>
        <p:blipFill>
          <a:blip r:embed="rId2"/>
          <a:stretch>
            <a:fillRect/>
          </a:stretch>
        </p:blipFill>
        <p:spPr>
          <a:xfrm>
            <a:off x="1052398" y="1713268"/>
            <a:ext cx="5834596" cy="3372245"/>
          </a:xfrm>
          <a:prstGeom prst="rect">
            <a:avLst/>
          </a:prstGeom>
        </p:spPr>
      </p:pic>
      <p:pic>
        <p:nvPicPr>
          <p:cNvPr id="6" name="Billede 5"/>
          <p:cNvPicPr>
            <a:picLocks noChangeAspect="1"/>
          </p:cNvPicPr>
          <p:nvPr/>
        </p:nvPicPr>
        <p:blipFill>
          <a:blip r:embed="rId3"/>
          <a:stretch>
            <a:fillRect/>
          </a:stretch>
        </p:blipFill>
        <p:spPr>
          <a:xfrm>
            <a:off x="7453101" y="1006989"/>
            <a:ext cx="1356164" cy="1914850"/>
          </a:xfrm>
          <a:prstGeom prst="rect">
            <a:avLst/>
          </a:prstGeom>
        </p:spPr>
      </p:pic>
    </p:spTree>
    <p:extLst>
      <p:ext uri="{BB962C8B-B14F-4D97-AF65-F5344CB8AC3E}">
        <p14:creationId xmlns:p14="http://schemas.microsoft.com/office/powerpoint/2010/main" val="1995720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lede 1"/>
          <p:cNvPicPr>
            <a:picLocks noChangeAspect="1"/>
          </p:cNvPicPr>
          <p:nvPr/>
        </p:nvPicPr>
        <p:blipFill>
          <a:blip r:embed="rId2"/>
          <a:stretch>
            <a:fillRect/>
          </a:stretch>
        </p:blipFill>
        <p:spPr>
          <a:xfrm>
            <a:off x="216626" y="1764032"/>
            <a:ext cx="3781736" cy="3290038"/>
          </a:xfrm>
          <a:prstGeom prst="rect">
            <a:avLst/>
          </a:prstGeom>
        </p:spPr>
      </p:pic>
      <p:pic>
        <p:nvPicPr>
          <p:cNvPr id="3" name="Billede 2"/>
          <p:cNvPicPr>
            <a:picLocks noChangeAspect="1"/>
          </p:cNvPicPr>
          <p:nvPr/>
        </p:nvPicPr>
        <p:blipFill>
          <a:blip r:embed="rId3"/>
          <a:stretch>
            <a:fillRect/>
          </a:stretch>
        </p:blipFill>
        <p:spPr>
          <a:xfrm>
            <a:off x="4585401" y="1968260"/>
            <a:ext cx="4055473" cy="2822417"/>
          </a:xfrm>
          <a:prstGeom prst="rect">
            <a:avLst/>
          </a:prstGeom>
        </p:spPr>
      </p:pic>
      <p:pic>
        <p:nvPicPr>
          <p:cNvPr id="8" name="Billede 7"/>
          <p:cNvPicPr>
            <a:picLocks noChangeAspect="1"/>
          </p:cNvPicPr>
          <p:nvPr/>
        </p:nvPicPr>
        <p:blipFill>
          <a:blip r:embed="rId4"/>
          <a:stretch>
            <a:fillRect/>
          </a:stretch>
        </p:blipFill>
        <p:spPr>
          <a:xfrm>
            <a:off x="6949596" y="230661"/>
            <a:ext cx="1077895" cy="1533371"/>
          </a:xfrm>
          <a:prstGeom prst="rect">
            <a:avLst/>
          </a:prstGeom>
        </p:spPr>
      </p:pic>
      <p:sp>
        <p:nvSpPr>
          <p:cNvPr id="6" name="Titel 4">
            <a:extLst>
              <a:ext uri="{FF2B5EF4-FFF2-40B4-BE49-F238E27FC236}">
                <a16:creationId xmlns:a16="http://schemas.microsoft.com/office/drawing/2014/main" id="{AE80C173-8C22-42C5-9393-E5F997547DD5}"/>
              </a:ext>
            </a:extLst>
          </p:cNvPr>
          <p:cNvSpPr>
            <a:spLocks noGrp="1"/>
          </p:cNvSpPr>
          <p:nvPr>
            <p:ph type="title"/>
          </p:nvPr>
        </p:nvSpPr>
        <p:spPr>
          <a:xfrm>
            <a:off x="116689" y="1011951"/>
            <a:ext cx="7100180" cy="527345"/>
          </a:xfrm>
        </p:spPr>
        <p:txBody>
          <a:bodyPr>
            <a:normAutofit fontScale="90000"/>
          </a:bodyPr>
          <a:lstStyle/>
          <a:p>
            <a:r>
              <a:rPr lang="da-DK" sz="2400" dirty="0"/>
              <a:t>Potentialet i EU alene er 40 gange investeringerne i Danmark mod 2030/2050</a:t>
            </a:r>
          </a:p>
        </p:txBody>
      </p:sp>
      <p:pic>
        <p:nvPicPr>
          <p:cNvPr id="7" name="Billede 6">
            <a:extLst>
              <a:ext uri="{FF2B5EF4-FFF2-40B4-BE49-F238E27FC236}">
                <a16:creationId xmlns:a16="http://schemas.microsoft.com/office/drawing/2014/main" id="{D855002D-3BA5-4C95-83FD-6CAE64CFFF54}"/>
              </a:ext>
            </a:extLst>
          </p:cNvPr>
          <p:cNvPicPr>
            <a:picLocks noChangeAspect="1"/>
          </p:cNvPicPr>
          <p:nvPr/>
        </p:nvPicPr>
        <p:blipFill>
          <a:blip r:embed="rId5"/>
          <a:stretch>
            <a:fillRect/>
          </a:stretch>
        </p:blipFill>
        <p:spPr>
          <a:xfrm>
            <a:off x="7812849" y="540204"/>
            <a:ext cx="1214462" cy="1727647"/>
          </a:xfrm>
          <a:prstGeom prst="rect">
            <a:avLst/>
          </a:prstGeom>
          <a:ln>
            <a:solidFill>
              <a:schemeClr val="tx1"/>
            </a:solidFill>
          </a:ln>
        </p:spPr>
      </p:pic>
      <p:pic>
        <p:nvPicPr>
          <p:cNvPr id="9" name="Billede 8">
            <a:extLst>
              <a:ext uri="{FF2B5EF4-FFF2-40B4-BE49-F238E27FC236}">
                <a16:creationId xmlns:a16="http://schemas.microsoft.com/office/drawing/2014/main" id="{32B74853-559A-46AD-A49B-CCE8D66E246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522234" y="4747364"/>
            <a:ext cx="1505077" cy="328006"/>
          </a:xfrm>
          <a:prstGeom prst="rect">
            <a:avLst/>
          </a:prstGeom>
        </p:spPr>
      </p:pic>
      <p:sp>
        <p:nvSpPr>
          <p:cNvPr id="4" name="Tekstfelt 3">
            <a:extLst>
              <a:ext uri="{FF2B5EF4-FFF2-40B4-BE49-F238E27FC236}">
                <a16:creationId xmlns:a16="http://schemas.microsoft.com/office/drawing/2014/main" id="{2639B1B0-F896-41C8-9BC2-4280D8790B36}"/>
              </a:ext>
            </a:extLst>
          </p:cNvPr>
          <p:cNvSpPr txBox="1"/>
          <p:nvPr/>
        </p:nvSpPr>
        <p:spPr>
          <a:xfrm rot="19412587">
            <a:off x="2738997" y="3309525"/>
            <a:ext cx="1855563" cy="300082"/>
          </a:xfrm>
          <a:prstGeom prst="rect">
            <a:avLst/>
          </a:prstGeom>
          <a:noFill/>
        </p:spPr>
        <p:txBody>
          <a:bodyPr wrap="square" rtlCol="0">
            <a:spAutoFit/>
          </a:bodyPr>
          <a:lstStyle/>
          <a:p>
            <a:r>
              <a:rPr lang="en-US" dirty="0" err="1">
                <a:solidFill>
                  <a:srgbClr val="FF0000"/>
                </a:solidFill>
              </a:rPr>
              <a:t>Hvilke</a:t>
            </a:r>
            <a:r>
              <a:rPr lang="en-US" dirty="0">
                <a:solidFill>
                  <a:srgbClr val="FF0000"/>
                </a:solidFill>
              </a:rPr>
              <a:t> </a:t>
            </a:r>
            <a:r>
              <a:rPr lang="en-US" dirty="0" err="1">
                <a:solidFill>
                  <a:srgbClr val="FF0000"/>
                </a:solidFill>
              </a:rPr>
              <a:t>initativer</a:t>
            </a:r>
            <a:r>
              <a:rPr lang="en-US" dirty="0">
                <a:solidFill>
                  <a:srgbClr val="FF0000"/>
                </a:solidFill>
              </a:rPr>
              <a:t> </a:t>
            </a:r>
            <a:r>
              <a:rPr lang="en-US" dirty="0" err="1">
                <a:solidFill>
                  <a:srgbClr val="FF0000"/>
                </a:solidFill>
              </a:rPr>
              <a:t>først</a:t>
            </a:r>
            <a:r>
              <a:rPr lang="en-US" dirty="0">
                <a:solidFill>
                  <a:srgbClr val="FF0000"/>
                </a:solidFill>
              </a:rPr>
              <a:t>?</a:t>
            </a:r>
            <a:endParaRPr lang="da-DK" dirty="0">
              <a:solidFill>
                <a:srgbClr val="FF0000"/>
              </a:solidFill>
            </a:endParaRPr>
          </a:p>
        </p:txBody>
      </p:sp>
    </p:spTree>
    <p:extLst>
      <p:ext uri="{BB962C8B-B14F-4D97-AF65-F5344CB8AC3E}">
        <p14:creationId xmlns:p14="http://schemas.microsoft.com/office/powerpoint/2010/main" val="33781317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8558" y="650833"/>
            <a:ext cx="7888968" cy="815282"/>
          </a:xfrm>
        </p:spPr>
        <p:txBody>
          <a:bodyPr vert="horz" lIns="91440" tIns="45720" rIns="91440" bIns="45720" rtlCol="0" anchor="ctr">
            <a:noAutofit/>
          </a:bodyPr>
          <a:lstStyle/>
          <a:p>
            <a:r>
              <a:rPr lang="da-DK" sz="2400" dirty="0"/>
              <a:t>Varmesektoren som en del af det samlede energisystem</a:t>
            </a:r>
          </a:p>
        </p:txBody>
      </p:sp>
      <p:pic>
        <p:nvPicPr>
          <p:cNvPr id="5" name="Billede 4"/>
          <p:cNvPicPr>
            <a:picLocks noChangeAspect="1"/>
          </p:cNvPicPr>
          <p:nvPr/>
        </p:nvPicPr>
        <p:blipFill>
          <a:blip r:embed="rId2"/>
          <a:stretch>
            <a:fillRect/>
          </a:stretch>
        </p:blipFill>
        <p:spPr>
          <a:xfrm>
            <a:off x="223257" y="1309999"/>
            <a:ext cx="5684802" cy="3334475"/>
          </a:xfrm>
          <a:prstGeom prst="rect">
            <a:avLst/>
          </a:prstGeom>
          <a:ln>
            <a:solidFill>
              <a:schemeClr val="tx1"/>
            </a:solidFill>
          </a:ln>
        </p:spPr>
      </p:pic>
      <p:pic>
        <p:nvPicPr>
          <p:cNvPr id="6" name="Billede 5"/>
          <p:cNvPicPr>
            <a:picLocks noChangeAspect="1"/>
          </p:cNvPicPr>
          <p:nvPr/>
        </p:nvPicPr>
        <p:blipFill>
          <a:blip r:embed="rId3"/>
          <a:stretch>
            <a:fillRect/>
          </a:stretch>
        </p:blipFill>
        <p:spPr>
          <a:xfrm>
            <a:off x="5587124" y="2742882"/>
            <a:ext cx="3506707" cy="2305817"/>
          </a:xfrm>
          <a:prstGeom prst="rect">
            <a:avLst/>
          </a:prstGeom>
          <a:ln>
            <a:solidFill>
              <a:schemeClr val="tx1"/>
            </a:solidFill>
          </a:ln>
        </p:spPr>
      </p:pic>
      <p:pic>
        <p:nvPicPr>
          <p:cNvPr id="7" name="Billede 6">
            <a:extLst>
              <a:ext uri="{FF2B5EF4-FFF2-40B4-BE49-F238E27FC236}">
                <a16:creationId xmlns:a16="http://schemas.microsoft.com/office/drawing/2014/main" id="{D332A210-5F94-4CC3-8ECE-85993209F97F}"/>
              </a:ext>
            </a:extLst>
          </p:cNvPr>
          <p:cNvPicPr>
            <a:picLocks noChangeAspect="1"/>
          </p:cNvPicPr>
          <p:nvPr/>
        </p:nvPicPr>
        <p:blipFill>
          <a:blip r:embed="rId4"/>
          <a:stretch>
            <a:fillRect/>
          </a:stretch>
        </p:blipFill>
        <p:spPr>
          <a:xfrm>
            <a:off x="7603875" y="839786"/>
            <a:ext cx="1277691" cy="1817595"/>
          </a:xfrm>
          <a:prstGeom prst="rect">
            <a:avLst/>
          </a:prstGeom>
          <a:ln>
            <a:solidFill>
              <a:schemeClr val="tx1"/>
            </a:solidFill>
          </a:ln>
        </p:spPr>
      </p:pic>
    </p:spTree>
    <p:extLst>
      <p:ext uri="{BB962C8B-B14F-4D97-AF65-F5344CB8AC3E}">
        <p14:creationId xmlns:p14="http://schemas.microsoft.com/office/powerpoint/2010/main" val="2438071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6D9F96-FAA3-4A4C-B92C-BBBA9798E3C0}"/>
              </a:ext>
            </a:extLst>
          </p:cNvPr>
          <p:cNvSpPr>
            <a:spLocks noGrp="1"/>
          </p:cNvSpPr>
          <p:nvPr>
            <p:ph type="title"/>
          </p:nvPr>
        </p:nvSpPr>
        <p:spPr>
          <a:xfrm>
            <a:off x="140596" y="970242"/>
            <a:ext cx="4263110" cy="994172"/>
          </a:xfrm>
        </p:spPr>
        <p:txBody>
          <a:bodyPr>
            <a:normAutofit/>
          </a:bodyPr>
          <a:lstStyle/>
          <a:p>
            <a:r>
              <a:rPr lang="da-DK" sz="2400" dirty="0"/>
              <a:t>Varmeplan Danmark 2021</a:t>
            </a:r>
          </a:p>
        </p:txBody>
      </p:sp>
      <p:sp>
        <p:nvSpPr>
          <p:cNvPr id="3" name="Pladsholder til indhold 2">
            <a:extLst>
              <a:ext uri="{FF2B5EF4-FFF2-40B4-BE49-F238E27FC236}">
                <a16:creationId xmlns:a16="http://schemas.microsoft.com/office/drawing/2014/main" id="{07726296-CDA9-4A20-9434-0B932DC4CC94}"/>
              </a:ext>
            </a:extLst>
          </p:cNvPr>
          <p:cNvSpPr>
            <a:spLocks noGrp="1"/>
          </p:cNvSpPr>
          <p:nvPr>
            <p:ph idx="1"/>
          </p:nvPr>
        </p:nvSpPr>
        <p:spPr>
          <a:xfrm>
            <a:off x="140596" y="1667321"/>
            <a:ext cx="4751164" cy="453189"/>
          </a:xfrm>
        </p:spPr>
        <p:txBody>
          <a:bodyPr>
            <a:normAutofit/>
          </a:bodyPr>
          <a:lstStyle/>
          <a:p>
            <a:r>
              <a:rPr lang="da-DK" sz="1600" dirty="0"/>
              <a:t>www.energyplan.eu/varmeplandk</a:t>
            </a:r>
          </a:p>
        </p:txBody>
      </p:sp>
      <p:pic>
        <p:nvPicPr>
          <p:cNvPr id="5" name="Billede 4">
            <a:extLst>
              <a:ext uri="{FF2B5EF4-FFF2-40B4-BE49-F238E27FC236}">
                <a16:creationId xmlns:a16="http://schemas.microsoft.com/office/drawing/2014/main" id="{5DF8F395-02FB-4D8B-8108-4EA57C152294}"/>
              </a:ext>
            </a:extLst>
          </p:cNvPr>
          <p:cNvPicPr>
            <a:picLocks noChangeAspect="1"/>
          </p:cNvPicPr>
          <p:nvPr/>
        </p:nvPicPr>
        <p:blipFill>
          <a:blip r:embed="rId2"/>
          <a:stretch>
            <a:fillRect/>
          </a:stretch>
        </p:blipFill>
        <p:spPr>
          <a:xfrm>
            <a:off x="1346355" y="2309119"/>
            <a:ext cx="3309315" cy="2684585"/>
          </a:xfrm>
          <a:prstGeom prst="rect">
            <a:avLst/>
          </a:prstGeom>
        </p:spPr>
      </p:pic>
      <p:pic>
        <p:nvPicPr>
          <p:cNvPr id="7" name="Billede 6">
            <a:extLst>
              <a:ext uri="{FF2B5EF4-FFF2-40B4-BE49-F238E27FC236}">
                <a16:creationId xmlns:a16="http://schemas.microsoft.com/office/drawing/2014/main" id="{3BD7FFED-F8A4-4AA5-A825-AF5E8489820F}"/>
              </a:ext>
            </a:extLst>
          </p:cNvPr>
          <p:cNvPicPr>
            <a:picLocks noChangeAspect="1"/>
          </p:cNvPicPr>
          <p:nvPr/>
        </p:nvPicPr>
        <p:blipFill>
          <a:blip r:embed="rId3"/>
          <a:stretch>
            <a:fillRect/>
          </a:stretch>
        </p:blipFill>
        <p:spPr>
          <a:xfrm>
            <a:off x="4969401" y="0"/>
            <a:ext cx="4174599" cy="5143500"/>
          </a:xfrm>
          <a:prstGeom prst="rect">
            <a:avLst/>
          </a:prstGeom>
        </p:spPr>
      </p:pic>
    </p:spTree>
    <p:extLst>
      <p:ext uri="{BB962C8B-B14F-4D97-AF65-F5344CB8AC3E}">
        <p14:creationId xmlns:p14="http://schemas.microsoft.com/office/powerpoint/2010/main" val="28647960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0A5B7F-13B4-4382-84AD-EB3A61955E6D}"/>
              </a:ext>
            </a:extLst>
          </p:cNvPr>
          <p:cNvSpPr>
            <a:spLocks noGrp="1"/>
          </p:cNvSpPr>
          <p:nvPr>
            <p:ph type="title"/>
          </p:nvPr>
        </p:nvSpPr>
        <p:spPr>
          <a:xfrm>
            <a:off x="101608" y="687370"/>
            <a:ext cx="7886700" cy="994172"/>
          </a:xfrm>
        </p:spPr>
        <p:txBody>
          <a:bodyPr>
            <a:normAutofit/>
          </a:bodyPr>
          <a:lstStyle/>
          <a:p>
            <a:r>
              <a:rPr lang="da-DK" sz="3000" dirty="0"/>
              <a:t>Industriel overskudsvarme</a:t>
            </a:r>
            <a:endParaRPr lang="en-US" sz="3000" dirty="0"/>
          </a:p>
        </p:txBody>
      </p:sp>
      <p:sp>
        <p:nvSpPr>
          <p:cNvPr id="3" name="Content Placeholder 2">
            <a:extLst>
              <a:ext uri="{FF2B5EF4-FFF2-40B4-BE49-F238E27FC236}">
                <a16:creationId xmlns:a16="http://schemas.microsoft.com/office/drawing/2014/main" id="{6A8E2F14-E94C-400E-B2C4-1BAA2B831892}"/>
              </a:ext>
            </a:extLst>
          </p:cNvPr>
          <p:cNvSpPr>
            <a:spLocks noGrp="1"/>
          </p:cNvSpPr>
          <p:nvPr>
            <p:ph idx="1"/>
          </p:nvPr>
        </p:nvSpPr>
        <p:spPr>
          <a:xfrm>
            <a:off x="302607" y="1896639"/>
            <a:ext cx="4515429" cy="3048341"/>
          </a:xfrm>
        </p:spPr>
        <p:txBody>
          <a:bodyPr>
            <a:normAutofit fontScale="92500" lnSpcReduction="20000"/>
          </a:bodyPr>
          <a:lstStyle/>
          <a:p>
            <a:r>
              <a:rPr lang="en-US" dirty="0"/>
              <a:t>Data </a:t>
            </a:r>
            <a:r>
              <a:rPr lang="en-US" dirty="0" err="1"/>
              <a:t>fra</a:t>
            </a:r>
            <a:r>
              <a:rPr lang="en-US" dirty="0"/>
              <a:t> Det Centrale </a:t>
            </a:r>
            <a:r>
              <a:rPr lang="en-US" dirty="0" err="1"/>
              <a:t>Virksomhedsregister</a:t>
            </a:r>
            <a:r>
              <a:rPr lang="en-US" dirty="0"/>
              <a:t> CVR</a:t>
            </a:r>
          </a:p>
          <a:p>
            <a:pPr lvl="1"/>
            <a:r>
              <a:rPr lang="en-US" dirty="0"/>
              <a:t>46 </a:t>
            </a:r>
            <a:r>
              <a:rPr lang="en-US" dirty="0" err="1"/>
              <a:t>brancher</a:t>
            </a:r>
            <a:endParaRPr lang="en-US" dirty="0"/>
          </a:p>
          <a:p>
            <a:pPr lvl="1"/>
            <a:r>
              <a:rPr lang="en-US" dirty="0"/>
              <a:t>~ 9000 </a:t>
            </a:r>
            <a:r>
              <a:rPr lang="en-US" dirty="0" err="1"/>
              <a:t>virksomheder</a:t>
            </a:r>
            <a:endParaRPr lang="en-US" dirty="0"/>
          </a:p>
          <a:p>
            <a:r>
              <a:rPr lang="en-US" dirty="0" err="1"/>
              <a:t>Overskudsvarmepotentiale</a:t>
            </a:r>
            <a:r>
              <a:rPr lang="en-US" dirty="0"/>
              <a:t> </a:t>
            </a:r>
            <a:r>
              <a:rPr lang="en-US" dirty="0" err="1"/>
              <a:t>fundet</a:t>
            </a:r>
            <a:r>
              <a:rPr lang="en-US" dirty="0"/>
              <a:t> </a:t>
            </a:r>
            <a:r>
              <a:rPr lang="en-US" dirty="0" err="1"/>
              <a:t>vha</a:t>
            </a:r>
            <a:r>
              <a:rPr lang="en-US" dirty="0"/>
              <a:t>. top-down model</a:t>
            </a:r>
          </a:p>
          <a:p>
            <a:pPr lvl="1"/>
            <a:r>
              <a:rPr lang="en-US" dirty="0" err="1"/>
              <a:t>Bruttoenergiforbrug</a:t>
            </a:r>
            <a:r>
              <a:rPr lang="en-US" dirty="0"/>
              <a:t> for </a:t>
            </a:r>
            <a:r>
              <a:rPr lang="en-US" dirty="0" err="1"/>
              <a:t>hver</a:t>
            </a:r>
            <a:r>
              <a:rPr lang="en-US" dirty="0"/>
              <a:t> </a:t>
            </a:r>
            <a:r>
              <a:rPr lang="en-US" dirty="0" err="1"/>
              <a:t>branche</a:t>
            </a:r>
            <a:r>
              <a:rPr lang="en-US" dirty="0"/>
              <a:t> </a:t>
            </a:r>
            <a:r>
              <a:rPr lang="en-US" dirty="0" err="1"/>
              <a:t>omregnes</a:t>
            </a:r>
            <a:r>
              <a:rPr lang="en-US" dirty="0"/>
              <a:t> </a:t>
            </a:r>
            <a:r>
              <a:rPr lang="en-US" dirty="0" err="1"/>
              <a:t>til</a:t>
            </a:r>
            <a:r>
              <a:rPr lang="en-US" dirty="0"/>
              <a:t> </a:t>
            </a:r>
            <a:r>
              <a:rPr lang="en-US" dirty="0" err="1"/>
              <a:t>potentiale</a:t>
            </a:r>
            <a:r>
              <a:rPr lang="en-US" dirty="0"/>
              <a:t> og </a:t>
            </a:r>
            <a:r>
              <a:rPr lang="en-US" dirty="0" err="1"/>
              <a:t>fordeles</a:t>
            </a:r>
            <a:r>
              <a:rPr lang="en-US" dirty="0"/>
              <a:t> </a:t>
            </a:r>
            <a:r>
              <a:rPr lang="en-US" dirty="0" err="1"/>
              <a:t>ud</a:t>
            </a:r>
            <a:r>
              <a:rPr lang="en-US" dirty="0"/>
              <a:t> </a:t>
            </a:r>
            <a:r>
              <a:rPr lang="en-US" dirty="0" err="1"/>
              <a:t>ift</a:t>
            </a:r>
            <a:r>
              <a:rPr lang="en-US" dirty="0"/>
              <a:t>. </a:t>
            </a:r>
            <a:r>
              <a:rPr lang="en-US" dirty="0" err="1"/>
              <a:t>Virksomhedernes</a:t>
            </a:r>
            <a:r>
              <a:rPr lang="en-US" dirty="0"/>
              <a:t> </a:t>
            </a:r>
            <a:r>
              <a:rPr lang="en-US" dirty="0" err="1"/>
              <a:t>størrelse</a:t>
            </a:r>
            <a:endParaRPr lang="en-US" dirty="0"/>
          </a:p>
          <a:p>
            <a:pPr lvl="1"/>
            <a:r>
              <a:rPr lang="en-US" dirty="0" err="1"/>
              <a:t>Opdeling</a:t>
            </a:r>
            <a:r>
              <a:rPr lang="en-US" dirty="0"/>
              <a:t> i 3 </a:t>
            </a:r>
            <a:r>
              <a:rPr lang="en-US" dirty="0" err="1"/>
              <a:t>temperaturniveuer</a:t>
            </a:r>
            <a:r>
              <a:rPr lang="en-US" dirty="0"/>
              <a:t> </a:t>
            </a:r>
          </a:p>
          <a:p>
            <a:pPr lvl="2"/>
            <a:r>
              <a:rPr lang="da-DK" dirty="0"/>
              <a:t>&lt;60°C</a:t>
            </a:r>
          </a:p>
          <a:p>
            <a:pPr lvl="2"/>
            <a:r>
              <a:rPr lang="da-DK" dirty="0"/>
              <a:t>60-80°C</a:t>
            </a:r>
          </a:p>
          <a:p>
            <a:pPr lvl="2"/>
            <a:r>
              <a:rPr lang="da-DK" dirty="0"/>
              <a:t>&gt; 80°C</a:t>
            </a:r>
            <a:endParaRPr lang="en-US" dirty="0"/>
          </a:p>
          <a:p>
            <a:pPr marL="0" indent="0">
              <a:buNone/>
            </a:pPr>
            <a:endParaRPr lang="en-US" dirty="0"/>
          </a:p>
        </p:txBody>
      </p:sp>
      <p:pic>
        <p:nvPicPr>
          <p:cNvPr id="6" name="Picture 5" descr="P1005#yIS1">
            <a:extLst>
              <a:ext uri="{FF2B5EF4-FFF2-40B4-BE49-F238E27FC236}">
                <a16:creationId xmlns:a16="http://schemas.microsoft.com/office/drawing/2014/main" id="{91BED9BB-7DC7-45C9-A270-09F5C30F0D5D}"/>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99043" y="192135"/>
            <a:ext cx="3883286" cy="4469990"/>
          </a:xfrm>
          <a:prstGeom prst="rect">
            <a:avLst/>
          </a:prstGeom>
          <a:ln>
            <a:noFill/>
          </a:ln>
          <a:effectLst>
            <a:outerShdw blurRad="292100" dist="139700" dir="2700000" algn="tl" rotWithShape="0">
              <a:srgbClr val="333333">
                <a:alpha val="65000"/>
              </a:srgbClr>
            </a:outerShdw>
          </a:effectLst>
        </p:spPr>
      </p:pic>
      <p:pic>
        <p:nvPicPr>
          <p:cNvPr id="5" name="Billede 4">
            <a:extLst>
              <a:ext uri="{FF2B5EF4-FFF2-40B4-BE49-F238E27FC236}">
                <a16:creationId xmlns:a16="http://schemas.microsoft.com/office/drawing/2014/main" id="{027948C5-D1E8-4B69-B9F0-3CAC4D590486}"/>
              </a:ext>
            </a:extLst>
          </p:cNvPr>
          <p:cNvPicPr>
            <a:picLocks noChangeAspect="1"/>
          </p:cNvPicPr>
          <p:nvPr/>
        </p:nvPicPr>
        <p:blipFill>
          <a:blip r:embed="rId3"/>
          <a:stretch>
            <a:fillRect/>
          </a:stretch>
        </p:blipFill>
        <p:spPr>
          <a:xfrm>
            <a:off x="4204306" y="367630"/>
            <a:ext cx="847220" cy="1205224"/>
          </a:xfrm>
          <a:prstGeom prst="rect">
            <a:avLst/>
          </a:prstGeom>
          <a:ln>
            <a:solidFill>
              <a:schemeClr val="tx1"/>
            </a:solidFill>
          </a:ln>
        </p:spPr>
      </p:pic>
    </p:spTree>
    <p:extLst>
      <p:ext uri="{BB962C8B-B14F-4D97-AF65-F5344CB8AC3E}">
        <p14:creationId xmlns:p14="http://schemas.microsoft.com/office/powerpoint/2010/main" val="24790968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4F9CC0A-8B54-4865-8A8E-24A54EC86F5E}"/>
              </a:ext>
            </a:extLst>
          </p:cNvPr>
          <p:cNvSpPr>
            <a:spLocks noGrp="1"/>
          </p:cNvSpPr>
          <p:nvPr>
            <p:ph type="title"/>
          </p:nvPr>
        </p:nvSpPr>
        <p:spPr>
          <a:xfrm>
            <a:off x="424272" y="920489"/>
            <a:ext cx="3104645" cy="994172"/>
          </a:xfrm>
        </p:spPr>
        <p:txBody>
          <a:bodyPr>
            <a:normAutofit fontScale="90000"/>
          </a:bodyPr>
          <a:lstStyle/>
          <a:p>
            <a:r>
              <a:rPr lang="da-DK" dirty="0"/>
              <a:t>Europa hungrer efter olie og gas</a:t>
            </a:r>
          </a:p>
        </p:txBody>
      </p:sp>
      <p:pic>
        <p:nvPicPr>
          <p:cNvPr id="2052" name="Picture 4">
            <a:extLst>
              <a:ext uri="{FF2B5EF4-FFF2-40B4-BE49-F238E27FC236}">
                <a16:creationId xmlns:a16="http://schemas.microsoft.com/office/drawing/2014/main" id="{FD87AFC0-8049-4343-B6ED-07B9F00DC16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39705" y="847693"/>
            <a:ext cx="4680023" cy="370084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Factbox: Markets weigh risks of Kerch Strait escalation | S&amp;P Global  Commodity Insights">
            <a:extLst>
              <a:ext uri="{FF2B5EF4-FFF2-40B4-BE49-F238E27FC236}">
                <a16:creationId xmlns:a16="http://schemas.microsoft.com/office/drawing/2014/main" id="{F936EEE6-D31E-458B-8F2C-1241813D8BD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1385" y="1997466"/>
            <a:ext cx="2748079" cy="28731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93204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46862" y="678474"/>
            <a:ext cx="5621056" cy="1039569"/>
          </a:xfrm>
        </p:spPr>
        <p:txBody>
          <a:bodyPr/>
          <a:lstStyle/>
          <a:p>
            <a:r>
              <a:rPr lang="da-DK" sz="2475" i="1" dirty="0"/>
              <a:t>Kortlægning af potentialer for </a:t>
            </a:r>
            <a:r>
              <a:rPr lang="da-DK" sz="2475" i="1" dirty="0" err="1"/>
              <a:t>geotermi</a:t>
            </a:r>
            <a:r>
              <a:rPr lang="da-DK" sz="2475" i="1" dirty="0"/>
              <a:t> og overskudsvarme</a:t>
            </a:r>
          </a:p>
        </p:txBody>
      </p:sp>
      <p:pic>
        <p:nvPicPr>
          <p:cNvPr id="5" name="Billede 4"/>
          <p:cNvPicPr>
            <a:picLocks noChangeAspect="1"/>
          </p:cNvPicPr>
          <p:nvPr/>
        </p:nvPicPr>
        <p:blipFill>
          <a:blip r:embed="rId2"/>
          <a:stretch>
            <a:fillRect/>
          </a:stretch>
        </p:blipFill>
        <p:spPr>
          <a:xfrm>
            <a:off x="440530" y="1600325"/>
            <a:ext cx="4809463" cy="3056713"/>
          </a:xfrm>
          <a:prstGeom prst="rect">
            <a:avLst/>
          </a:prstGeom>
          <a:ln>
            <a:solidFill>
              <a:schemeClr val="tx1"/>
            </a:solidFill>
          </a:ln>
        </p:spPr>
      </p:pic>
      <p:pic>
        <p:nvPicPr>
          <p:cNvPr id="7" name="Picture 13"/>
          <p:cNvPicPr/>
          <p:nvPr/>
        </p:nvPicPr>
        <p:blipFill>
          <a:blip r:embed="rId3">
            <a:extLst>
              <a:ext uri="{28A0092B-C50C-407E-A947-70E740481C1C}">
                <a14:useLocalDpi xmlns:a14="http://schemas.microsoft.com/office/drawing/2010/main" val="0"/>
              </a:ext>
            </a:extLst>
          </a:blip>
          <a:srcRect/>
          <a:stretch>
            <a:fillRect/>
          </a:stretch>
        </p:blipFill>
        <p:spPr bwMode="auto">
          <a:xfrm>
            <a:off x="5539494" y="1718043"/>
            <a:ext cx="3353986" cy="2938995"/>
          </a:xfrm>
          <a:prstGeom prst="rect">
            <a:avLst/>
          </a:prstGeom>
          <a:noFill/>
          <a:ln>
            <a:solidFill>
              <a:schemeClr val="tx1"/>
            </a:solidFill>
          </a:ln>
        </p:spPr>
      </p:pic>
    </p:spTree>
    <p:extLst>
      <p:ext uri="{BB962C8B-B14F-4D97-AF65-F5344CB8AC3E}">
        <p14:creationId xmlns:p14="http://schemas.microsoft.com/office/powerpoint/2010/main" val="32487245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28650" y="562360"/>
            <a:ext cx="7886700" cy="994172"/>
          </a:xfrm>
        </p:spPr>
        <p:txBody>
          <a:bodyPr/>
          <a:lstStyle/>
          <a:p>
            <a:r>
              <a:rPr lang="da-DK" sz="2475" b="1" i="1" dirty="0"/>
              <a:t>Store potentialer for </a:t>
            </a:r>
            <a:r>
              <a:rPr lang="da-DK" sz="2475" b="1" i="1" dirty="0" err="1"/>
              <a:t>geotermi</a:t>
            </a:r>
            <a:r>
              <a:rPr lang="da-DK" sz="2475" b="1" i="1" dirty="0"/>
              <a:t> og overskudsvarme</a:t>
            </a:r>
            <a:endParaRPr lang="da-DK" sz="2475" dirty="0"/>
          </a:p>
        </p:txBody>
      </p:sp>
      <p:sp>
        <p:nvSpPr>
          <p:cNvPr id="3" name="Pladsholder til indhold 2"/>
          <p:cNvSpPr>
            <a:spLocks noGrp="1"/>
          </p:cNvSpPr>
          <p:nvPr>
            <p:ph idx="1"/>
          </p:nvPr>
        </p:nvSpPr>
        <p:spPr>
          <a:xfrm>
            <a:off x="6964186" y="1317636"/>
            <a:ext cx="2071008" cy="3263504"/>
          </a:xfrm>
        </p:spPr>
        <p:txBody>
          <a:bodyPr>
            <a:normAutofit/>
          </a:bodyPr>
          <a:lstStyle/>
          <a:p>
            <a:pPr lvl="0">
              <a:buFont typeface="Arial" panose="020B0604020202020204" pitchFamily="34" charset="0"/>
              <a:buChar char="•"/>
            </a:pPr>
            <a:r>
              <a:rPr lang="da-DK" sz="1200" dirty="0"/>
              <a:t>I fremtidens energisystem er der </a:t>
            </a:r>
            <a:r>
              <a:rPr lang="da-DK" sz="1200" b="1" i="1" dirty="0"/>
              <a:t>store potentialer for </a:t>
            </a:r>
            <a:r>
              <a:rPr lang="da-DK" sz="1200" b="1" i="1" dirty="0" err="1"/>
              <a:t>geotermi</a:t>
            </a:r>
            <a:r>
              <a:rPr lang="da-DK" sz="1200" b="1" i="1" dirty="0"/>
              <a:t> og overskudsvarme</a:t>
            </a:r>
            <a:r>
              <a:rPr lang="da-DK" sz="1200" dirty="0"/>
              <a:t> fra industri, datacentre og Power2X. Disse muligheder bør udnyttes.</a:t>
            </a:r>
          </a:p>
        </p:txBody>
      </p:sp>
      <p:pic>
        <p:nvPicPr>
          <p:cNvPr id="4" name="Billede 3"/>
          <p:cNvPicPr>
            <a:picLocks noChangeAspect="1"/>
          </p:cNvPicPr>
          <p:nvPr/>
        </p:nvPicPr>
        <p:blipFill>
          <a:blip r:embed="rId2"/>
          <a:stretch>
            <a:fillRect/>
          </a:stretch>
        </p:blipFill>
        <p:spPr>
          <a:xfrm>
            <a:off x="368554" y="1317636"/>
            <a:ext cx="6523655" cy="3307836"/>
          </a:xfrm>
          <a:prstGeom prst="rect">
            <a:avLst/>
          </a:prstGeom>
          <a:ln>
            <a:solidFill>
              <a:schemeClr val="tx1"/>
            </a:solidFill>
          </a:ln>
        </p:spPr>
      </p:pic>
    </p:spTree>
    <p:extLst>
      <p:ext uri="{BB962C8B-B14F-4D97-AF65-F5344CB8AC3E}">
        <p14:creationId xmlns:p14="http://schemas.microsoft.com/office/powerpoint/2010/main" val="7398433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6616" y="610688"/>
            <a:ext cx="5118801" cy="1039569"/>
          </a:xfrm>
        </p:spPr>
        <p:txBody>
          <a:bodyPr>
            <a:normAutofit/>
          </a:bodyPr>
          <a:lstStyle/>
          <a:p>
            <a:r>
              <a:rPr lang="da-DK" sz="2400" b="1" dirty="0"/>
              <a:t>Fjernvarmen bør udbygges til 63-70%</a:t>
            </a:r>
            <a:endParaRPr lang="da-DK" sz="2400" dirty="0"/>
          </a:p>
        </p:txBody>
      </p:sp>
      <p:sp>
        <p:nvSpPr>
          <p:cNvPr id="3" name="Pladsholder til indhold 2"/>
          <p:cNvSpPr>
            <a:spLocks noGrp="1"/>
          </p:cNvSpPr>
          <p:nvPr>
            <p:ph idx="1"/>
          </p:nvPr>
        </p:nvSpPr>
        <p:spPr>
          <a:xfrm>
            <a:off x="353290" y="1391940"/>
            <a:ext cx="4597742" cy="1679417"/>
          </a:xfrm>
        </p:spPr>
        <p:txBody>
          <a:bodyPr>
            <a:normAutofit/>
          </a:bodyPr>
          <a:lstStyle/>
          <a:p>
            <a:pPr lvl="0"/>
            <a:r>
              <a:rPr lang="da-DK" sz="800" dirty="0"/>
              <a:t>Nuværende: Nuværende bygninger registreret med fjernvarme (~50%)</a:t>
            </a:r>
          </a:p>
          <a:p>
            <a:pPr lvl="0"/>
            <a:r>
              <a:rPr lang="da-DK" sz="800" dirty="0"/>
              <a:t>Fortætning: Alle bygninger i områder udlagt til fjernvarme (~59%)</a:t>
            </a:r>
          </a:p>
          <a:p>
            <a:pPr lvl="0"/>
            <a:r>
              <a:rPr lang="da-DK" sz="800" dirty="0"/>
              <a:t>Minimum udvidelse: Udvidelser til byområder med varmedensitet over 15 kWh/m</a:t>
            </a:r>
            <a:r>
              <a:rPr lang="da-DK" sz="800" baseline="30000" dirty="0"/>
              <a:t>2</a:t>
            </a:r>
            <a:r>
              <a:rPr lang="da-DK" sz="800" dirty="0"/>
              <a:t> (~63%)</a:t>
            </a:r>
          </a:p>
          <a:p>
            <a:pPr lvl="0"/>
            <a:r>
              <a:rPr lang="da-DK" sz="800" b="1" dirty="0"/>
              <a:t>Anbefalet udvidelse:</a:t>
            </a:r>
            <a:r>
              <a:rPr lang="da-DK" sz="800" dirty="0"/>
              <a:t> Udvidelser til byområder med varmedensitet over 10 kWh/m</a:t>
            </a:r>
            <a:r>
              <a:rPr lang="da-DK" sz="800" baseline="30000" dirty="0"/>
              <a:t>2</a:t>
            </a:r>
            <a:r>
              <a:rPr lang="da-DK" sz="800" dirty="0"/>
              <a:t> (~70%)</a:t>
            </a:r>
          </a:p>
          <a:p>
            <a:pPr lvl="0"/>
            <a:r>
              <a:rPr lang="da-DK" sz="800" dirty="0"/>
              <a:t>Maksimum udvidelse: Udvidelser til byområder med varmedensitet over 5 kWh/m</a:t>
            </a:r>
            <a:r>
              <a:rPr lang="da-DK" sz="800" baseline="30000" dirty="0"/>
              <a:t>2</a:t>
            </a:r>
            <a:r>
              <a:rPr lang="da-DK" sz="800" dirty="0"/>
              <a:t> (~74%)</a:t>
            </a:r>
          </a:p>
          <a:p>
            <a:endParaRPr lang="da-DK" sz="400" dirty="0"/>
          </a:p>
        </p:txBody>
      </p:sp>
      <p:pic>
        <p:nvPicPr>
          <p:cNvPr id="4" name="Picture 49"/>
          <p:cNvPicPr/>
          <p:nvPr/>
        </p:nvPicPr>
        <p:blipFill>
          <a:blip r:embed="rId2" cstate="print">
            <a:extLst>
              <a:ext uri="{28A0092B-C50C-407E-A947-70E740481C1C}">
                <a14:useLocalDpi xmlns:a14="http://schemas.microsoft.com/office/drawing/2010/main" val="0"/>
              </a:ext>
            </a:extLst>
          </a:blip>
          <a:stretch>
            <a:fillRect/>
          </a:stretch>
        </p:blipFill>
        <p:spPr>
          <a:xfrm>
            <a:off x="5317465" y="307932"/>
            <a:ext cx="3473244" cy="2680531"/>
          </a:xfrm>
          <a:prstGeom prst="rect">
            <a:avLst/>
          </a:prstGeom>
        </p:spPr>
      </p:pic>
      <p:pic>
        <p:nvPicPr>
          <p:cNvPr id="5" name="Billede 4"/>
          <p:cNvPicPr>
            <a:picLocks noChangeAspect="1"/>
          </p:cNvPicPr>
          <p:nvPr/>
        </p:nvPicPr>
        <p:blipFill>
          <a:blip r:embed="rId3"/>
          <a:stretch>
            <a:fillRect/>
          </a:stretch>
        </p:blipFill>
        <p:spPr>
          <a:xfrm>
            <a:off x="602976" y="2623142"/>
            <a:ext cx="4370393" cy="2429454"/>
          </a:xfrm>
          <a:prstGeom prst="rect">
            <a:avLst/>
          </a:prstGeom>
          <a:ln>
            <a:solidFill>
              <a:schemeClr val="tx1"/>
            </a:solidFill>
          </a:ln>
        </p:spPr>
      </p:pic>
      <p:sp>
        <p:nvSpPr>
          <p:cNvPr id="6" name="Pladsholder til indhold 2"/>
          <p:cNvSpPr txBox="1">
            <a:spLocks/>
          </p:cNvSpPr>
          <p:nvPr/>
        </p:nvSpPr>
        <p:spPr>
          <a:xfrm>
            <a:off x="5124588" y="3071357"/>
            <a:ext cx="3416438" cy="1925372"/>
          </a:xfrm>
          <a:prstGeom prst="rect">
            <a:avLst/>
          </a:prstGeom>
        </p:spPr>
        <p:txBody>
          <a:bodyPr vert="horz" lIns="68580" tIns="34290" rIns="68580" bIns="3429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a-DK" sz="825" dirty="0"/>
              <a:t>Naturgas konvertering:</a:t>
            </a:r>
          </a:p>
          <a:p>
            <a:r>
              <a:rPr lang="da-DK" sz="825" dirty="0"/>
              <a:t>260.000 til fjernvarme</a:t>
            </a:r>
          </a:p>
          <a:p>
            <a:r>
              <a:rPr lang="da-DK" sz="825" dirty="0"/>
              <a:t>115.000 til </a:t>
            </a:r>
            <a:r>
              <a:rPr lang="da-DK" sz="825" dirty="0" err="1"/>
              <a:t>indv</a:t>
            </a:r>
            <a:r>
              <a:rPr lang="da-DK" sz="825" dirty="0"/>
              <a:t>. varmepumper</a:t>
            </a:r>
          </a:p>
          <a:p>
            <a:pPr marL="0" indent="0">
              <a:buNone/>
            </a:pPr>
            <a:r>
              <a:rPr lang="da-DK" sz="825" dirty="0"/>
              <a:t>Oliefyr konvertering:</a:t>
            </a:r>
          </a:p>
          <a:p>
            <a:r>
              <a:rPr lang="da-DK" sz="825" dirty="0"/>
              <a:t>44.000 til fjernvarme</a:t>
            </a:r>
          </a:p>
          <a:p>
            <a:r>
              <a:rPr lang="da-DK" sz="825" dirty="0"/>
              <a:t>70.000 til </a:t>
            </a:r>
            <a:r>
              <a:rPr lang="da-DK" sz="825" dirty="0" err="1"/>
              <a:t>indv</a:t>
            </a:r>
            <a:r>
              <a:rPr lang="da-DK" sz="825" dirty="0"/>
              <a:t>. varmepumper</a:t>
            </a:r>
          </a:p>
          <a:p>
            <a:pPr marL="0" indent="0">
              <a:buNone/>
            </a:pPr>
            <a:r>
              <a:rPr lang="da-DK" sz="825" dirty="0"/>
              <a:t>Biomassefyr konvertering:</a:t>
            </a:r>
          </a:p>
          <a:p>
            <a:r>
              <a:rPr lang="da-DK" sz="825" dirty="0"/>
              <a:t>74.000 til fjernvarme</a:t>
            </a:r>
          </a:p>
          <a:p>
            <a:r>
              <a:rPr lang="da-DK" sz="825" dirty="0"/>
              <a:t>183.000 til </a:t>
            </a:r>
            <a:r>
              <a:rPr lang="da-DK" sz="825" dirty="0" err="1"/>
              <a:t>indv</a:t>
            </a:r>
            <a:r>
              <a:rPr lang="da-DK" sz="825" dirty="0"/>
              <a:t>. varmepumper</a:t>
            </a:r>
          </a:p>
        </p:txBody>
      </p:sp>
      <p:pic>
        <p:nvPicPr>
          <p:cNvPr id="7" name="Billede 6">
            <a:extLst>
              <a:ext uri="{FF2B5EF4-FFF2-40B4-BE49-F238E27FC236}">
                <a16:creationId xmlns:a16="http://schemas.microsoft.com/office/drawing/2014/main" id="{8CE45C7D-2205-441B-8A1D-9FE73873CB39}"/>
              </a:ext>
            </a:extLst>
          </p:cNvPr>
          <p:cNvPicPr>
            <a:picLocks noChangeAspect="1"/>
          </p:cNvPicPr>
          <p:nvPr/>
        </p:nvPicPr>
        <p:blipFill>
          <a:blip r:embed="rId4"/>
          <a:stretch>
            <a:fillRect/>
          </a:stretch>
        </p:blipFill>
        <p:spPr>
          <a:xfrm>
            <a:off x="7451175" y="2678455"/>
            <a:ext cx="1630036" cy="2318828"/>
          </a:xfrm>
          <a:prstGeom prst="rect">
            <a:avLst/>
          </a:prstGeom>
          <a:ln>
            <a:solidFill>
              <a:schemeClr val="tx1"/>
            </a:solidFill>
          </a:ln>
        </p:spPr>
      </p:pic>
    </p:spTree>
    <p:extLst>
      <p:ext uri="{BB962C8B-B14F-4D97-AF65-F5344CB8AC3E}">
        <p14:creationId xmlns:p14="http://schemas.microsoft.com/office/powerpoint/2010/main" val="22574901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0-#ppt_w/2"/>
                                          </p:val>
                                        </p:tav>
                                        <p:tav tm="100000">
                                          <p:val>
                                            <p:strVal val="#ppt_x"/>
                                          </p:val>
                                        </p:tav>
                                      </p:tavLst>
                                    </p:anim>
                                    <p:anim calcmode="lin" valueType="num">
                                      <p:cBhvr additive="base">
                                        <p:cTn id="13" dur="500" fill="hold"/>
                                        <p:tgtEl>
                                          <p:spTgt spid="5"/>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fill="hold" nodeType="after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500" fill="hold"/>
                                        <p:tgtEl>
                                          <p:spTgt spid="7"/>
                                        </p:tgtEl>
                                        <p:attrNameLst>
                                          <p:attrName>ppt_x</p:attrName>
                                        </p:attrNameLst>
                                      </p:cBhvr>
                                      <p:tavLst>
                                        <p:tav tm="0">
                                          <p:val>
                                            <p:strVal val="1+#ppt_w/2"/>
                                          </p:val>
                                        </p:tav>
                                        <p:tav tm="100000">
                                          <p:val>
                                            <p:strVal val="#ppt_x"/>
                                          </p:val>
                                        </p:tav>
                                      </p:tavLst>
                                    </p:anim>
                                    <p:anim calcmode="lin" valueType="num">
                                      <p:cBhvr additive="base">
                                        <p:cTn id="18"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99804" y="788403"/>
            <a:ext cx="8203623" cy="994172"/>
          </a:xfrm>
        </p:spPr>
        <p:txBody>
          <a:bodyPr/>
          <a:lstStyle/>
          <a:p>
            <a:r>
              <a:rPr lang="da-DK" sz="2475" dirty="0"/>
              <a:t>En del af en samlet løsning</a:t>
            </a:r>
            <a:br>
              <a:rPr lang="da-DK" sz="2475" dirty="0"/>
            </a:br>
            <a:r>
              <a:rPr lang="da-DK" sz="2475" dirty="0"/>
              <a:t>En varmesektor under forandring</a:t>
            </a:r>
          </a:p>
        </p:txBody>
      </p:sp>
      <p:pic>
        <p:nvPicPr>
          <p:cNvPr id="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08915" y="346691"/>
            <a:ext cx="2486759" cy="13626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Billede 5"/>
          <p:cNvPicPr>
            <a:picLocks noChangeAspect="1"/>
          </p:cNvPicPr>
          <p:nvPr/>
        </p:nvPicPr>
        <p:blipFill>
          <a:blip r:embed="rId3"/>
          <a:stretch>
            <a:fillRect/>
          </a:stretch>
        </p:blipFill>
        <p:spPr>
          <a:xfrm>
            <a:off x="478463" y="1921833"/>
            <a:ext cx="6962884" cy="3024725"/>
          </a:xfrm>
          <a:prstGeom prst="rect">
            <a:avLst/>
          </a:prstGeom>
          <a:ln>
            <a:solidFill>
              <a:schemeClr val="tx1"/>
            </a:solidFill>
          </a:ln>
        </p:spPr>
      </p:pic>
      <p:pic>
        <p:nvPicPr>
          <p:cNvPr id="7" name="Billede 6">
            <a:extLst>
              <a:ext uri="{FF2B5EF4-FFF2-40B4-BE49-F238E27FC236}">
                <a16:creationId xmlns:a16="http://schemas.microsoft.com/office/drawing/2014/main" id="{04C1656A-D5F3-468D-8203-941BEA0F0C07}"/>
              </a:ext>
            </a:extLst>
          </p:cNvPr>
          <p:cNvPicPr>
            <a:picLocks noChangeAspect="1"/>
          </p:cNvPicPr>
          <p:nvPr/>
        </p:nvPicPr>
        <p:blipFill>
          <a:blip r:embed="rId4"/>
          <a:stretch>
            <a:fillRect/>
          </a:stretch>
        </p:blipFill>
        <p:spPr>
          <a:xfrm>
            <a:off x="7539106" y="1987821"/>
            <a:ext cx="1358810" cy="1932992"/>
          </a:xfrm>
          <a:prstGeom prst="rect">
            <a:avLst/>
          </a:prstGeom>
          <a:ln>
            <a:solidFill>
              <a:schemeClr val="tx1"/>
            </a:solidFill>
          </a:ln>
        </p:spPr>
      </p:pic>
    </p:spTree>
    <p:extLst>
      <p:ext uri="{BB962C8B-B14F-4D97-AF65-F5344CB8AC3E}">
        <p14:creationId xmlns:p14="http://schemas.microsoft.com/office/powerpoint/2010/main" val="19944492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Sfære med gitter og knudepunkter">
            <a:extLst>
              <a:ext uri="{FF2B5EF4-FFF2-40B4-BE49-F238E27FC236}">
                <a16:creationId xmlns:a16="http://schemas.microsoft.com/office/drawing/2014/main" id="{4511638E-D8BB-47C9-9FDC-917E9841CBB2}"/>
              </a:ext>
            </a:extLst>
          </p:cNvPr>
          <p:cNvPicPr>
            <a:picLocks noChangeAspect="1"/>
          </p:cNvPicPr>
          <p:nvPr/>
        </p:nvPicPr>
        <p:blipFill rotWithShape="1">
          <a:blip r:embed="rId2"/>
          <a:srcRect l="39503" r="8515"/>
          <a:stretch/>
        </p:blipFill>
        <p:spPr>
          <a:xfrm>
            <a:off x="5579076" y="7"/>
            <a:ext cx="3564924" cy="5143493"/>
          </a:xfrm>
          <a:prstGeom prst="rect">
            <a:avLst/>
          </a:prstGeom>
          <a:noFill/>
        </p:spPr>
      </p:pic>
      <p:sp>
        <p:nvSpPr>
          <p:cNvPr id="9" name="Slide Number Placeholder 2">
            <a:extLst>
              <a:ext uri="{FF2B5EF4-FFF2-40B4-BE49-F238E27FC236}">
                <a16:creationId xmlns:a16="http://schemas.microsoft.com/office/drawing/2014/main" id="{0931148B-F07B-4A7E-8D80-E2A90EE2F00B}"/>
              </a:ext>
            </a:extLst>
          </p:cNvPr>
          <p:cNvSpPr>
            <a:spLocks noGrp="1"/>
          </p:cNvSpPr>
          <p:nvPr>
            <p:ph type="sldNum" sz="quarter" idx="10"/>
          </p:nvPr>
        </p:nvSpPr>
        <p:spPr>
          <a:xfrm>
            <a:off x="8504915" y="444917"/>
            <a:ext cx="428601" cy="170373"/>
          </a:xfrm>
        </p:spPr>
        <p:txBody>
          <a:bodyPr/>
          <a:lstStyle/>
          <a:p>
            <a:pPr>
              <a:spcAft>
                <a:spcPts val="450"/>
              </a:spcAft>
            </a:pPr>
            <a:fld id="{D8D877B3-D348-4611-9BDB-C5374591D951}" type="slidenum">
              <a:rPr lang="en-US" smtClean="0"/>
              <a:pPr>
                <a:spcAft>
                  <a:spcPts val="450"/>
                </a:spcAft>
              </a:pPr>
              <a:t>24</a:t>
            </a:fld>
            <a:endParaRPr lang="en-US"/>
          </a:p>
        </p:txBody>
      </p:sp>
      <p:sp>
        <p:nvSpPr>
          <p:cNvPr id="2" name="Titel 1"/>
          <p:cNvSpPr>
            <a:spLocks noGrp="1"/>
          </p:cNvSpPr>
          <p:nvPr>
            <p:ph type="title"/>
          </p:nvPr>
        </p:nvSpPr>
        <p:spPr>
          <a:xfrm>
            <a:off x="299763" y="1005345"/>
            <a:ext cx="3367834" cy="602175"/>
          </a:xfrm>
        </p:spPr>
        <p:txBody>
          <a:bodyPr anchor="t">
            <a:normAutofit/>
          </a:bodyPr>
          <a:lstStyle/>
          <a:p>
            <a:pPr>
              <a:lnSpc>
                <a:spcPct val="90000"/>
              </a:lnSpc>
            </a:pPr>
            <a:r>
              <a:rPr lang="da-DK" sz="2475" dirty="0"/>
              <a:t>Fire hovedpointer</a:t>
            </a:r>
          </a:p>
        </p:txBody>
      </p:sp>
      <p:sp>
        <p:nvSpPr>
          <p:cNvPr id="17" name="Pladsholder til indhold 2"/>
          <p:cNvSpPr>
            <a:spLocks noGrp="1"/>
          </p:cNvSpPr>
          <p:nvPr>
            <p:ph type="body" sz="quarter" idx="12"/>
          </p:nvPr>
        </p:nvSpPr>
        <p:spPr>
          <a:xfrm>
            <a:off x="440531" y="1607520"/>
            <a:ext cx="4920879" cy="3207881"/>
          </a:xfrm>
        </p:spPr>
        <p:txBody>
          <a:bodyPr>
            <a:normAutofit lnSpcReduction="10000"/>
          </a:bodyPr>
          <a:lstStyle/>
          <a:p>
            <a:pPr lvl="0">
              <a:lnSpc>
                <a:spcPct val="90000"/>
              </a:lnSpc>
            </a:pPr>
            <a:r>
              <a:rPr lang="da-DK" sz="1050" b="1" i="1" dirty="0"/>
              <a:t>Energibesparelser i bygningsmassen er vigtige</a:t>
            </a:r>
            <a:r>
              <a:rPr lang="da-DK" sz="1050" dirty="0"/>
              <a:t>. Vi skal finde den rette balance mellem energibesparelser og energieffektiviseringer og vedvarende energi. Det betyder, at vi forsat skal satse på energirenovering.</a:t>
            </a:r>
          </a:p>
          <a:p>
            <a:pPr lvl="0">
              <a:lnSpc>
                <a:spcPct val="90000"/>
              </a:lnSpc>
            </a:pPr>
            <a:r>
              <a:rPr lang="da-DK" sz="1050" b="1" i="1" dirty="0"/>
              <a:t>Fjernvarmen bør udbygges</a:t>
            </a:r>
            <a:r>
              <a:rPr lang="da-DK" sz="1050" dirty="0"/>
              <a:t> i takt med at vi nedlægger naturgas og oliefyr. Uden for fjernvarmeområderne bør varmen komme fra </a:t>
            </a:r>
            <a:r>
              <a:rPr lang="da-DK" sz="1050" b="1" i="1" dirty="0"/>
              <a:t>individuelle varmepumper</a:t>
            </a:r>
            <a:r>
              <a:rPr lang="en-US" sz="1050" dirty="0"/>
              <a:t> </a:t>
            </a:r>
            <a:r>
              <a:rPr lang="da-DK" sz="1050" dirty="0"/>
              <a:t>. Denne kombination giver den mest energieffektive og fleksible løsning, som samtidigt mindsker behovet for biomasse og antallet af vindmøller.</a:t>
            </a:r>
          </a:p>
          <a:p>
            <a:pPr lvl="0">
              <a:lnSpc>
                <a:spcPct val="90000"/>
              </a:lnSpc>
            </a:pPr>
            <a:r>
              <a:rPr lang="da-DK" sz="1050" dirty="0"/>
              <a:t>I fjernvarmeforsyningen bør der </a:t>
            </a:r>
            <a:r>
              <a:rPr lang="da-DK" sz="1050" b="1" i="1" dirty="0"/>
              <a:t>satses målrettet på overgangen til 4. generations fjernvarme</a:t>
            </a:r>
            <a:r>
              <a:rPr lang="da-DK" sz="1050" dirty="0"/>
              <a:t> med lavere temperaturer. Det giver de laveste omkostninger og den mest effektive udnyttelse af </a:t>
            </a:r>
            <a:r>
              <a:rPr lang="da-DK" sz="1050" dirty="0" err="1"/>
              <a:t>geotermi</a:t>
            </a:r>
            <a:r>
              <a:rPr lang="da-DK" sz="1050" dirty="0"/>
              <a:t>, overskudsvarme, effektiv elektrificering gennem store varmepumper og eksisterende og nye </a:t>
            </a:r>
            <a:r>
              <a:rPr lang="da-DK" sz="1050" dirty="0" err="1"/>
              <a:t>varmelagre</a:t>
            </a:r>
            <a:r>
              <a:rPr lang="da-DK" sz="1050" dirty="0"/>
              <a:t>. </a:t>
            </a:r>
            <a:r>
              <a:rPr lang="en-US" sz="1050" dirty="0"/>
              <a:t> </a:t>
            </a:r>
            <a:endParaRPr lang="da-DK" sz="1050" dirty="0"/>
          </a:p>
          <a:p>
            <a:pPr lvl="0">
              <a:lnSpc>
                <a:spcPct val="90000"/>
              </a:lnSpc>
            </a:pPr>
            <a:r>
              <a:rPr lang="da-DK" sz="1050" dirty="0"/>
              <a:t>I fremtidens energisystem er der </a:t>
            </a:r>
            <a:r>
              <a:rPr lang="da-DK" sz="1050" b="1" i="1" dirty="0"/>
              <a:t>store potentialer for </a:t>
            </a:r>
            <a:r>
              <a:rPr lang="da-DK" sz="1050" b="1" i="1" dirty="0" err="1"/>
              <a:t>geotermi</a:t>
            </a:r>
            <a:r>
              <a:rPr lang="da-DK" sz="1050" b="1" i="1" dirty="0"/>
              <a:t> og overskudsvarme</a:t>
            </a:r>
            <a:r>
              <a:rPr lang="da-DK" sz="1050" dirty="0"/>
              <a:t> fra industri, datacentre og Power2X. Disse muligheder bør udnyttes.</a:t>
            </a:r>
          </a:p>
          <a:p>
            <a:pPr marL="0" indent="0">
              <a:lnSpc>
                <a:spcPct val="90000"/>
              </a:lnSpc>
              <a:buNone/>
            </a:pPr>
            <a:endParaRPr lang="da-DK" sz="1050" dirty="0"/>
          </a:p>
          <a:p>
            <a:pPr marL="0" indent="0" algn="ctr">
              <a:lnSpc>
                <a:spcPct val="90000"/>
              </a:lnSpc>
              <a:buNone/>
            </a:pPr>
            <a:r>
              <a:rPr lang="da-DK" sz="1400" b="1" dirty="0"/>
              <a:t>Behov for Energiplanlægning</a:t>
            </a:r>
          </a:p>
          <a:p>
            <a:pPr marL="0" indent="0" algn="ctr">
              <a:lnSpc>
                <a:spcPct val="90000"/>
              </a:lnSpc>
              <a:buNone/>
            </a:pPr>
            <a:r>
              <a:rPr lang="da-DK" sz="1400" b="1" dirty="0"/>
              <a:t>Stort behov for afklaring for alle bygningsejere inden </a:t>
            </a:r>
            <a:br>
              <a:rPr lang="da-DK" sz="1400" b="1" dirty="0"/>
            </a:br>
            <a:r>
              <a:rPr lang="da-DK" sz="1400" b="1" dirty="0"/>
              <a:t>termostaterne starter i oktober 2022</a:t>
            </a:r>
          </a:p>
        </p:txBody>
      </p:sp>
      <p:pic>
        <p:nvPicPr>
          <p:cNvPr id="6" name="Billede 5">
            <a:extLst>
              <a:ext uri="{FF2B5EF4-FFF2-40B4-BE49-F238E27FC236}">
                <a16:creationId xmlns:a16="http://schemas.microsoft.com/office/drawing/2014/main" id="{2315922C-74D9-4D7D-A020-3C27CBB35F3C}"/>
              </a:ext>
            </a:extLst>
          </p:cNvPr>
          <p:cNvPicPr>
            <a:picLocks noChangeAspect="1"/>
          </p:cNvPicPr>
          <p:nvPr/>
        </p:nvPicPr>
        <p:blipFill>
          <a:blip r:embed="rId3"/>
          <a:stretch>
            <a:fillRect/>
          </a:stretch>
        </p:blipFill>
        <p:spPr>
          <a:xfrm>
            <a:off x="4358470" y="194656"/>
            <a:ext cx="1010122" cy="1436962"/>
          </a:xfrm>
          <a:prstGeom prst="rect">
            <a:avLst/>
          </a:prstGeom>
          <a:ln>
            <a:solidFill>
              <a:schemeClr val="tx1"/>
            </a:solidFill>
          </a:ln>
        </p:spPr>
      </p:pic>
    </p:spTree>
    <p:extLst>
      <p:ext uri="{BB962C8B-B14F-4D97-AF65-F5344CB8AC3E}">
        <p14:creationId xmlns:p14="http://schemas.microsoft.com/office/powerpoint/2010/main" val="553331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Effect transition="in" filter="fade">
                                      <p:cBhvr>
                                        <p:cTn id="7" dur="500"/>
                                        <p:tgtEl>
                                          <p:spTgt spid="1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
                                            <p:txEl>
                                              <p:pRg st="1" end="1"/>
                                            </p:txEl>
                                          </p:spTgt>
                                        </p:tgtEl>
                                        <p:attrNameLst>
                                          <p:attrName>style.visibility</p:attrName>
                                        </p:attrNameLst>
                                      </p:cBhvr>
                                      <p:to>
                                        <p:strVal val="visible"/>
                                      </p:to>
                                    </p:set>
                                    <p:animEffect transition="in" filter="fade">
                                      <p:cBhvr>
                                        <p:cTn id="12" dur="500"/>
                                        <p:tgtEl>
                                          <p:spTgt spid="1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7">
                                            <p:txEl>
                                              <p:pRg st="2" end="2"/>
                                            </p:txEl>
                                          </p:spTgt>
                                        </p:tgtEl>
                                        <p:attrNameLst>
                                          <p:attrName>style.visibility</p:attrName>
                                        </p:attrNameLst>
                                      </p:cBhvr>
                                      <p:to>
                                        <p:strVal val="visible"/>
                                      </p:to>
                                    </p:set>
                                    <p:animEffect transition="in" filter="fade">
                                      <p:cBhvr>
                                        <p:cTn id="17" dur="500"/>
                                        <p:tgtEl>
                                          <p:spTgt spid="1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7">
                                            <p:txEl>
                                              <p:pRg st="3" end="3"/>
                                            </p:txEl>
                                          </p:spTgt>
                                        </p:tgtEl>
                                        <p:attrNameLst>
                                          <p:attrName>style.visibility</p:attrName>
                                        </p:attrNameLst>
                                      </p:cBhvr>
                                      <p:to>
                                        <p:strVal val="visible"/>
                                      </p:to>
                                    </p:set>
                                    <p:animEffect transition="in" filter="fade">
                                      <p:cBhvr>
                                        <p:cTn id="22" dur="500"/>
                                        <p:tgtEl>
                                          <p:spTgt spid="17">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7">
                                            <p:txEl>
                                              <p:pRg st="5" end="5"/>
                                            </p:txEl>
                                          </p:spTgt>
                                        </p:tgtEl>
                                        <p:attrNameLst>
                                          <p:attrName>style.visibility</p:attrName>
                                        </p:attrNameLst>
                                      </p:cBhvr>
                                      <p:to>
                                        <p:strVal val="visible"/>
                                      </p:to>
                                    </p:set>
                                    <p:animEffect transition="in" filter="fade">
                                      <p:cBhvr>
                                        <p:cTn id="27" dur="500"/>
                                        <p:tgtEl>
                                          <p:spTgt spid="17">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7">
                                            <p:txEl>
                                              <p:pRg st="6" end="6"/>
                                            </p:txEl>
                                          </p:spTgt>
                                        </p:tgtEl>
                                        <p:attrNameLst>
                                          <p:attrName>style.visibility</p:attrName>
                                        </p:attrNameLst>
                                      </p:cBhvr>
                                      <p:to>
                                        <p:strVal val="visible"/>
                                      </p:to>
                                    </p:set>
                                    <p:animEffect transition="in" filter="fade">
                                      <p:cBhvr>
                                        <p:cTn id="32" dur="500"/>
                                        <p:tgtEl>
                                          <p:spTgt spid="1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588083-A85F-417C-ABD0-0D62B9FA04BD}"/>
              </a:ext>
            </a:extLst>
          </p:cNvPr>
          <p:cNvSpPr>
            <a:spLocks noGrp="1"/>
          </p:cNvSpPr>
          <p:nvPr>
            <p:ph type="title"/>
          </p:nvPr>
        </p:nvSpPr>
        <p:spPr>
          <a:xfrm>
            <a:off x="347625" y="572294"/>
            <a:ext cx="7886700" cy="994172"/>
          </a:xfrm>
        </p:spPr>
        <p:txBody>
          <a:bodyPr/>
          <a:lstStyle/>
          <a:p>
            <a:r>
              <a:rPr lang="da-DK" dirty="0"/>
              <a:t>7 forskellige GIS analyser</a:t>
            </a:r>
            <a:endParaRPr lang="en-US" dirty="0"/>
          </a:p>
        </p:txBody>
      </p:sp>
      <p:graphicFrame>
        <p:nvGraphicFramePr>
          <p:cNvPr id="4" name="Diagram 3">
            <a:extLst>
              <a:ext uri="{FF2B5EF4-FFF2-40B4-BE49-F238E27FC236}">
                <a16:creationId xmlns:a16="http://schemas.microsoft.com/office/drawing/2014/main" id="{F8C2E2EF-9AE1-4C97-80A3-1ECE28A0A56F}"/>
              </a:ext>
            </a:extLst>
          </p:cNvPr>
          <p:cNvGraphicFramePr/>
          <p:nvPr/>
        </p:nvGraphicFramePr>
        <p:xfrm>
          <a:off x="1314450" y="1280673"/>
          <a:ext cx="6235162" cy="30974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Billede 4">
            <a:extLst>
              <a:ext uri="{FF2B5EF4-FFF2-40B4-BE49-F238E27FC236}">
                <a16:creationId xmlns:a16="http://schemas.microsoft.com/office/drawing/2014/main" id="{701B5D3E-9497-4AB6-84AA-ABF5F843E6A5}"/>
              </a:ext>
            </a:extLst>
          </p:cNvPr>
          <p:cNvPicPr>
            <a:picLocks noChangeAspect="1"/>
          </p:cNvPicPr>
          <p:nvPr/>
        </p:nvPicPr>
        <p:blipFill>
          <a:blip r:embed="rId7"/>
          <a:stretch>
            <a:fillRect/>
          </a:stretch>
        </p:blipFill>
        <p:spPr>
          <a:xfrm>
            <a:off x="8035232" y="907363"/>
            <a:ext cx="847220" cy="1205224"/>
          </a:xfrm>
          <a:prstGeom prst="rect">
            <a:avLst/>
          </a:prstGeom>
          <a:ln>
            <a:solidFill>
              <a:schemeClr val="tx1"/>
            </a:solidFill>
          </a:ln>
        </p:spPr>
      </p:pic>
    </p:spTree>
    <p:extLst>
      <p:ext uri="{BB962C8B-B14F-4D97-AF65-F5344CB8AC3E}">
        <p14:creationId xmlns:p14="http://schemas.microsoft.com/office/powerpoint/2010/main" val="35266938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5092D6-A3C1-4CEC-A0E1-65D48C1EC6AF}"/>
              </a:ext>
            </a:extLst>
          </p:cNvPr>
          <p:cNvSpPr>
            <a:spLocks noGrp="1"/>
          </p:cNvSpPr>
          <p:nvPr>
            <p:ph type="title"/>
          </p:nvPr>
        </p:nvSpPr>
        <p:spPr>
          <a:xfrm>
            <a:off x="109752" y="451592"/>
            <a:ext cx="7886700" cy="994172"/>
          </a:xfrm>
        </p:spPr>
        <p:txBody>
          <a:bodyPr/>
          <a:lstStyle/>
          <a:p>
            <a:r>
              <a:rPr lang="da-DK" dirty="0"/>
              <a:t>Kortlægning af varmebehov</a:t>
            </a:r>
            <a:endParaRPr lang="en-US" dirty="0"/>
          </a:p>
        </p:txBody>
      </p:sp>
      <p:sp>
        <p:nvSpPr>
          <p:cNvPr id="3" name="Content Placeholder 2">
            <a:extLst>
              <a:ext uri="{FF2B5EF4-FFF2-40B4-BE49-F238E27FC236}">
                <a16:creationId xmlns:a16="http://schemas.microsoft.com/office/drawing/2014/main" id="{C310A88F-9507-4E4D-A4C9-BF0CD92D6821}"/>
              </a:ext>
            </a:extLst>
          </p:cNvPr>
          <p:cNvSpPr>
            <a:spLocks noGrp="1"/>
          </p:cNvSpPr>
          <p:nvPr>
            <p:ph idx="1"/>
          </p:nvPr>
        </p:nvSpPr>
        <p:spPr>
          <a:xfrm>
            <a:off x="162820" y="1187707"/>
            <a:ext cx="4632846" cy="3517517"/>
          </a:xfrm>
        </p:spPr>
        <p:txBody>
          <a:bodyPr>
            <a:normAutofit fontScale="55000" lnSpcReduction="20000"/>
          </a:bodyPr>
          <a:lstStyle/>
          <a:p>
            <a:r>
              <a:rPr lang="da-DK" dirty="0"/>
              <a:t>Varmeatlasmetode udviklet siden 2006</a:t>
            </a:r>
          </a:p>
          <a:p>
            <a:r>
              <a:rPr lang="da-DK" dirty="0"/>
              <a:t>I Varmeplan Danmark anvendes Version 6.0 (tal fra 2019)</a:t>
            </a:r>
          </a:p>
          <a:p>
            <a:r>
              <a:rPr lang="da-DK" dirty="0"/>
              <a:t>Anvender data fra </a:t>
            </a:r>
            <a:r>
              <a:rPr lang="da-DK" b="1" dirty="0"/>
              <a:t>Bygnings- og Boligregistret (BBR)</a:t>
            </a:r>
          </a:p>
          <a:p>
            <a:pPr lvl="1"/>
            <a:r>
              <a:rPr lang="da-DK" dirty="0"/>
              <a:t>Anvendelse</a:t>
            </a:r>
          </a:p>
          <a:p>
            <a:pPr lvl="1"/>
            <a:r>
              <a:rPr lang="da-DK" dirty="0"/>
              <a:t>Alder</a:t>
            </a:r>
          </a:p>
          <a:p>
            <a:pPr lvl="1"/>
            <a:r>
              <a:rPr lang="da-DK" dirty="0"/>
              <a:t>Areal</a:t>
            </a:r>
          </a:p>
          <a:p>
            <a:pPr lvl="1"/>
            <a:r>
              <a:rPr lang="da-DK" dirty="0"/>
              <a:t>Varmeforsyning</a:t>
            </a:r>
          </a:p>
          <a:p>
            <a:r>
              <a:rPr lang="da-DK" dirty="0"/>
              <a:t>Varmeforbrugsmodel baseret på data fra </a:t>
            </a:r>
            <a:r>
              <a:rPr lang="da-DK" b="1" dirty="0"/>
              <a:t>Forsyningsselskabernes Indberetningsmodel for Energidata (FIE)</a:t>
            </a:r>
          </a:p>
          <a:p>
            <a:r>
              <a:rPr lang="da-DK" dirty="0"/>
              <a:t>Varmebesparelser fra </a:t>
            </a:r>
            <a:r>
              <a:rPr lang="da-DK" b="1" dirty="0"/>
              <a:t>Statens Byggeforskningsinstitut (</a:t>
            </a:r>
            <a:r>
              <a:rPr lang="da-DK" b="1" dirty="0" err="1"/>
              <a:t>Sbi</a:t>
            </a:r>
            <a:r>
              <a:rPr lang="da-DK" b="1" dirty="0"/>
              <a:t>) </a:t>
            </a:r>
            <a:r>
              <a:rPr lang="da-DK" dirty="0"/>
              <a:t>som opstiller følgende 7 niveauer for energieffektiviseringer:</a:t>
            </a:r>
            <a:endParaRPr lang="en-GB" dirty="0"/>
          </a:p>
          <a:p>
            <a:pPr lvl="1"/>
            <a:r>
              <a:rPr lang="da-DK" dirty="0"/>
              <a:t>Minimum basal renovering af bygningsdelene til byggeteknisk acceptabel standard </a:t>
            </a:r>
            <a:endParaRPr lang="en-GB" dirty="0"/>
          </a:p>
          <a:p>
            <a:pPr lvl="1"/>
            <a:r>
              <a:rPr lang="da-DK" dirty="0"/>
              <a:t>Niveau 1 + Isolering af tomme hulmure </a:t>
            </a:r>
            <a:endParaRPr lang="en-GB" dirty="0"/>
          </a:p>
          <a:p>
            <a:pPr lvl="1"/>
            <a:r>
              <a:rPr lang="da-DK" dirty="0"/>
              <a:t>Niveau 2 + Vinduer med energimærke A </a:t>
            </a:r>
            <a:endParaRPr lang="en-GB" dirty="0"/>
          </a:p>
          <a:p>
            <a:pPr lvl="1"/>
            <a:r>
              <a:rPr lang="da-DK" dirty="0"/>
              <a:t>Niveau 3 + Nogen isolering på loft og tag </a:t>
            </a:r>
            <a:endParaRPr lang="en-GB" dirty="0"/>
          </a:p>
          <a:p>
            <a:pPr lvl="1"/>
            <a:r>
              <a:rPr lang="da-DK" dirty="0"/>
              <a:t>Sædvanlig god praksis for isolering ved renovering </a:t>
            </a:r>
            <a:endParaRPr lang="en-GB" dirty="0"/>
          </a:p>
          <a:p>
            <a:pPr lvl="1"/>
            <a:r>
              <a:rPr lang="da-DK" dirty="0"/>
              <a:t>Energifokus ved isolering af renoverede bygningsdele </a:t>
            </a:r>
            <a:endParaRPr lang="en-GB" dirty="0"/>
          </a:p>
          <a:p>
            <a:pPr lvl="1"/>
            <a:r>
              <a:rPr lang="da-DK" dirty="0"/>
              <a:t>Niveau 6 + efterisolering af loft og tag som er isoleret svarende til Niveau 6</a:t>
            </a:r>
            <a:endParaRPr lang="en-GB" dirty="0"/>
          </a:p>
          <a:p>
            <a:endParaRPr lang="en-US" dirty="0"/>
          </a:p>
        </p:txBody>
      </p:sp>
      <p:pic>
        <p:nvPicPr>
          <p:cNvPr id="4" name="Picture 11" descr="P298#yIS1">
            <a:extLst>
              <a:ext uri="{FF2B5EF4-FFF2-40B4-BE49-F238E27FC236}">
                <a16:creationId xmlns:a16="http://schemas.microsoft.com/office/drawing/2014/main" id="{6D281A08-89A9-4C6D-B00B-B856C6F76826}"/>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5522387" y="1248188"/>
            <a:ext cx="2257620" cy="1052361"/>
          </a:xfrm>
          <a:prstGeom prst="rect">
            <a:avLst/>
          </a:prstGeom>
          <a:ln>
            <a:noFill/>
          </a:ln>
          <a:effectLst>
            <a:outerShdw blurRad="292100" dist="139700" dir="2700000" algn="tl" rotWithShape="0">
              <a:srgbClr val="333333">
                <a:alpha val="65000"/>
              </a:srgbClr>
            </a:outerShdw>
          </a:effectLst>
        </p:spPr>
      </p:pic>
      <p:graphicFrame>
        <p:nvGraphicFramePr>
          <p:cNvPr id="6" name="Chart 5" descr="P446#yIS1">
            <a:extLst>
              <a:ext uri="{FF2B5EF4-FFF2-40B4-BE49-F238E27FC236}">
                <a16:creationId xmlns:a16="http://schemas.microsoft.com/office/drawing/2014/main" id="{9E24B5C8-8B3E-434E-B897-1F815D711BC7}"/>
              </a:ext>
            </a:extLst>
          </p:cNvPr>
          <p:cNvGraphicFramePr/>
          <p:nvPr/>
        </p:nvGraphicFramePr>
        <p:xfrm>
          <a:off x="4854872" y="2842951"/>
          <a:ext cx="4210187" cy="2225684"/>
        </p:xfrm>
        <a:graphic>
          <a:graphicData uri="http://schemas.openxmlformats.org/drawingml/2006/chart">
            <c:chart xmlns:c="http://schemas.openxmlformats.org/drawingml/2006/chart" xmlns:r="http://schemas.openxmlformats.org/officeDocument/2006/relationships" r:id="rId3"/>
          </a:graphicData>
        </a:graphic>
      </p:graphicFrame>
      <p:pic>
        <p:nvPicPr>
          <p:cNvPr id="7" name="Billede 6">
            <a:extLst>
              <a:ext uri="{FF2B5EF4-FFF2-40B4-BE49-F238E27FC236}">
                <a16:creationId xmlns:a16="http://schemas.microsoft.com/office/drawing/2014/main" id="{6353B460-EA3B-4BF9-85F7-69310631DB96}"/>
              </a:ext>
            </a:extLst>
          </p:cNvPr>
          <p:cNvPicPr>
            <a:picLocks noChangeAspect="1"/>
          </p:cNvPicPr>
          <p:nvPr/>
        </p:nvPicPr>
        <p:blipFill>
          <a:blip r:embed="rId4"/>
          <a:stretch>
            <a:fillRect/>
          </a:stretch>
        </p:blipFill>
        <p:spPr>
          <a:xfrm>
            <a:off x="8049520" y="346066"/>
            <a:ext cx="847220" cy="1205224"/>
          </a:xfrm>
          <a:prstGeom prst="rect">
            <a:avLst/>
          </a:prstGeom>
          <a:ln>
            <a:solidFill>
              <a:schemeClr val="tx1"/>
            </a:solidFill>
          </a:ln>
        </p:spPr>
      </p:pic>
    </p:spTree>
    <p:extLst>
      <p:ext uri="{BB962C8B-B14F-4D97-AF65-F5344CB8AC3E}">
        <p14:creationId xmlns:p14="http://schemas.microsoft.com/office/powerpoint/2010/main" val="4087846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2E420D-FB72-4B18-B4B5-2F3782385AAB}"/>
              </a:ext>
            </a:extLst>
          </p:cNvPr>
          <p:cNvSpPr>
            <a:spLocks noGrp="1"/>
          </p:cNvSpPr>
          <p:nvPr>
            <p:ph type="title"/>
          </p:nvPr>
        </p:nvSpPr>
        <p:spPr>
          <a:xfrm>
            <a:off x="0" y="511803"/>
            <a:ext cx="7886700" cy="994172"/>
          </a:xfrm>
        </p:spPr>
        <p:txBody>
          <a:bodyPr/>
          <a:lstStyle/>
          <a:p>
            <a:r>
              <a:rPr lang="da-DK" dirty="0"/>
              <a:t>Overordnet kort over varmedensitet</a:t>
            </a:r>
            <a:endParaRPr lang="en-US" dirty="0"/>
          </a:p>
        </p:txBody>
      </p:sp>
      <p:sp>
        <p:nvSpPr>
          <p:cNvPr id="3" name="Content Placeholder 2">
            <a:extLst>
              <a:ext uri="{FF2B5EF4-FFF2-40B4-BE49-F238E27FC236}">
                <a16:creationId xmlns:a16="http://schemas.microsoft.com/office/drawing/2014/main" id="{082CE977-61A0-4E33-BC8D-662E9DDE08A6}"/>
              </a:ext>
            </a:extLst>
          </p:cNvPr>
          <p:cNvSpPr>
            <a:spLocks noGrp="1"/>
          </p:cNvSpPr>
          <p:nvPr>
            <p:ph idx="1"/>
          </p:nvPr>
        </p:nvSpPr>
        <p:spPr>
          <a:xfrm>
            <a:off x="628650" y="1369219"/>
            <a:ext cx="5078601" cy="3263504"/>
          </a:xfrm>
        </p:spPr>
        <p:txBody>
          <a:bodyPr>
            <a:normAutofit/>
          </a:bodyPr>
          <a:lstStyle/>
          <a:p>
            <a:r>
              <a:rPr lang="en-US" dirty="0" err="1"/>
              <a:t>Byområder</a:t>
            </a:r>
            <a:r>
              <a:rPr lang="en-US" dirty="0"/>
              <a:t> </a:t>
            </a:r>
            <a:r>
              <a:rPr lang="en-US" dirty="0" err="1"/>
              <a:t>uden</a:t>
            </a:r>
            <a:r>
              <a:rPr lang="en-US" dirty="0"/>
              <a:t> </a:t>
            </a:r>
            <a:r>
              <a:rPr lang="en-US" dirty="0" err="1"/>
              <a:t>fjernvarme</a:t>
            </a:r>
            <a:r>
              <a:rPr lang="en-US" dirty="0"/>
              <a:t> </a:t>
            </a:r>
            <a:r>
              <a:rPr lang="en-US" dirty="0" err="1"/>
              <a:t>udvælges</a:t>
            </a:r>
            <a:endParaRPr lang="en-US" dirty="0"/>
          </a:p>
          <a:p>
            <a:r>
              <a:rPr lang="en-US" dirty="0"/>
              <a:t>Data </a:t>
            </a:r>
            <a:r>
              <a:rPr lang="en-US" dirty="0" err="1"/>
              <a:t>fra</a:t>
            </a:r>
            <a:r>
              <a:rPr lang="en-US" dirty="0"/>
              <a:t>:</a:t>
            </a:r>
          </a:p>
          <a:p>
            <a:pPr lvl="1"/>
            <a:r>
              <a:rPr lang="en-US" dirty="0" err="1"/>
              <a:t>Fjernvarmeforsyning</a:t>
            </a:r>
            <a:r>
              <a:rPr lang="en-US" dirty="0"/>
              <a:t> </a:t>
            </a:r>
            <a:r>
              <a:rPr lang="en-US" dirty="0" err="1"/>
              <a:t>fra</a:t>
            </a:r>
            <a:r>
              <a:rPr lang="en-US" dirty="0"/>
              <a:t> Plansystem.dk</a:t>
            </a:r>
          </a:p>
          <a:p>
            <a:pPr lvl="1"/>
            <a:r>
              <a:rPr lang="en-US" dirty="0" err="1"/>
              <a:t>Bebyggede</a:t>
            </a:r>
            <a:r>
              <a:rPr lang="en-US" dirty="0"/>
              <a:t> </a:t>
            </a:r>
            <a:r>
              <a:rPr lang="en-US" dirty="0" err="1"/>
              <a:t>områder</a:t>
            </a:r>
            <a:r>
              <a:rPr lang="en-US" dirty="0"/>
              <a:t> </a:t>
            </a:r>
            <a:r>
              <a:rPr lang="en-US" dirty="0" err="1"/>
              <a:t>fra</a:t>
            </a:r>
            <a:r>
              <a:rPr lang="en-US" dirty="0"/>
              <a:t> FOT </a:t>
            </a:r>
            <a:r>
              <a:rPr lang="en-US" dirty="0" err="1"/>
              <a:t>Danmark</a:t>
            </a:r>
            <a:endParaRPr lang="en-US" dirty="0"/>
          </a:p>
          <a:p>
            <a:r>
              <a:rPr lang="en-US" dirty="0" err="1"/>
              <a:t>Modeller</a:t>
            </a:r>
            <a:r>
              <a:rPr lang="en-US" dirty="0"/>
              <a:t> for:</a:t>
            </a:r>
          </a:p>
          <a:p>
            <a:pPr lvl="1"/>
            <a:r>
              <a:rPr lang="en-US" dirty="0" err="1"/>
              <a:t>Distributionsomkostninger</a:t>
            </a:r>
            <a:r>
              <a:rPr lang="en-US" dirty="0"/>
              <a:t> </a:t>
            </a:r>
            <a:r>
              <a:rPr lang="en-US" dirty="0" err="1"/>
              <a:t>til</a:t>
            </a:r>
            <a:r>
              <a:rPr lang="en-US" dirty="0"/>
              <a:t> </a:t>
            </a:r>
            <a:r>
              <a:rPr lang="en-US" dirty="0" err="1"/>
              <a:t>ny</a:t>
            </a:r>
            <a:r>
              <a:rPr lang="en-US" dirty="0"/>
              <a:t> </a:t>
            </a:r>
            <a:r>
              <a:rPr lang="en-US" dirty="0" err="1"/>
              <a:t>fjernvarme</a:t>
            </a:r>
            <a:endParaRPr lang="en-US" dirty="0"/>
          </a:p>
          <a:p>
            <a:pPr lvl="2"/>
            <a:r>
              <a:rPr lang="en-US" dirty="0" err="1"/>
              <a:t>Udregnet</a:t>
            </a:r>
            <a:r>
              <a:rPr lang="en-US" dirty="0"/>
              <a:t> for ~3000 </a:t>
            </a:r>
            <a:r>
              <a:rPr lang="en-US" dirty="0" err="1"/>
              <a:t>bebyggede</a:t>
            </a:r>
            <a:r>
              <a:rPr lang="en-US" dirty="0"/>
              <a:t> </a:t>
            </a:r>
            <a:r>
              <a:rPr lang="en-US" dirty="0" err="1"/>
              <a:t>områder</a:t>
            </a:r>
            <a:endParaRPr lang="en-US" dirty="0"/>
          </a:p>
          <a:p>
            <a:pPr lvl="2"/>
            <a:r>
              <a:rPr lang="en-US" dirty="0" err="1"/>
              <a:t>Varmedensitet</a:t>
            </a:r>
            <a:r>
              <a:rPr lang="en-US" dirty="0"/>
              <a:t> </a:t>
            </a:r>
            <a:r>
              <a:rPr lang="en-US" dirty="0" err="1"/>
              <a:t>udregnet</a:t>
            </a:r>
            <a:r>
              <a:rPr lang="en-US" dirty="0"/>
              <a:t> for de same </a:t>
            </a:r>
            <a:r>
              <a:rPr lang="en-US" dirty="0" err="1"/>
              <a:t>områder</a:t>
            </a:r>
            <a:endParaRPr lang="en-US" dirty="0"/>
          </a:p>
          <a:p>
            <a:pPr lvl="1"/>
            <a:r>
              <a:rPr lang="en-US" dirty="0" err="1"/>
              <a:t>Sammenkobling</a:t>
            </a:r>
            <a:r>
              <a:rPr lang="en-US" dirty="0"/>
              <a:t> </a:t>
            </a:r>
            <a:r>
              <a:rPr lang="en-US" dirty="0" err="1"/>
              <a:t>af</a:t>
            </a:r>
            <a:r>
              <a:rPr lang="en-US" dirty="0"/>
              <a:t> </a:t>
            </a:r>
            <a:r>
              <a:rPr lang="en-US" dirty="0" err="1"/>
              <a:t>fjernvarmeområder</a:t>
            </a:r>
            <a:r>
              <a:rPr lang="en-US" dirty="0"/>
              <a:t> </a:t>
            </a:r>
          </a:p>
          <a:p>
            <a:pPr marL="342900" lvl="1" indent="0">
              <a:buNone/>
            </a:pPr>
            <a:endParaRPr lang="en-US" dirty="0"/>
          </a:p>
          <a:p>
            <a:endParaRPr lang="en-US" dirty="0"/>
          </a:p>
          <a:p>
            <a:pPr marL="0" indent="0">
              <a:buNone/>
            </a:pPr>
            <a:endParaRPr lang="en-US" dirty="0"/>
          </a:p>
        </p:txBody>
      </p:sp>
      <p:pic>
        <p:nvPicPr>
          <p:cNvPr id="4" name="Picture 3" descr="P472#yIS1">
            <a:extLst>
              <a:ext uri="{FF2B5EF4-FFF2-40B4-BE49-F238E27FC236}">
                <a16:creationId xmlns:a16="http://schemas.microsoft.com/office/drawing/2014/main" id="{D953AAFB-6F9C-4E19-B550-3B6BA7A62B45}"/>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6008169" y="1482025"/>
            <a:ext cx="2982700" cy="2853658"/>
          </a:xfrm>
          <a:prstGeom prst="rect">
            <a:avLst/>
          </a:prstGeom>
          <a:ln>
            <a:noFill/>
          </a:ln>
          <a:effectLst>
            <a:outerShdw blurRad="292100" dist="139700" dir="2700000" algn="tl" rotWithShape="0">
              <a:srgbClr val="333333">
                <a:alpha val="65000"/>
              </a:srgbClr>
            </a:outerShdw>
          </a:effectLst>
        </p:spPr>
      </p:pic>
      <p:pic>
        <p:nvPicPr>
          <p:cNvPr id="5" name="Billede 4">
            <a:extLst>
              <a:ext uri="{FF2B5EF4-FFF2-40B4-BE49-F238E27FC236}">
                <a16:creationId xmlns:a16="http://schemas.microsoft.com/office/drawing/2014/main" id="{00DC2905-AE35-4131-BCA7-256F5C0ED00B}"/>
              </a:ext>
            </a:extLst>
          </p:cNvPr>
          <p:cNvPicPr>
            <a:picLocks noChangeAspect="1"/>
          </p:cNvPicPr>
          <p:nvPr/>
        </p:nvPicPr>
        <p:blipFill>
          <a:blip r:embed="rId3"/>
          <a:stretch>
            <a:fillRect/>
          </a:stretch>
        </p:blipFill>
        <p:spPr>
          <a:xfrm>
            <a:off x="7963795" y="120018"/>
            <a:ext cx="847220" cy="1205224"/>
          </a:xfrm>
          <a:prstGeom prst="rect">
            <a:avLst/>
          </a:prstGeom>
          <a:ln>
            <a:solidFill>
              <a:schemeClr val="tx1"/>
            </a:solidFill>
          </a:ln>
        </p:spPr>
      </p:pic>
    </p:spTree>
    <p:extLst>
      <p:ext uri="{BB962C8B-B14F-4D97-AF65-F5344CB8AC3E}">
        <p14:creationId xmlns:p14="http://schemas.microsoft.com/office/powerpoint/2010/main" val="16620669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6646B-E344-439D-B85D-1732D7B064B8}"/>
              </a:ext>
            </a:extLst>
          </p:cNvPr>
          <p:cNvSpPr>
            <a:spLocks noGrp="1"/>
          </p:cNvSpPr>
          <p:nvPr>
            <p:ph type="title"/>
          </p:nvPr>
        </p:nvSpPr>
        <p:spPr>
          <a:xfrm>
            <a:off x="-28575" y="574618"/>
            <a:ext cx="7886700" cy="994172"/>
          </a:xfrm>
        </p:spPr>
        <p:txBody>
          <a:bodyPr/>
          <a:lstStyle/>
          <a:p>
            <a:r>
              <a:rPr lang="da-DK" dirty="0"/>
              <a:t>Potentialet for geotermi</a:t>
            </a:r>
            <a:endParaRPr lang="en-US" dirty="0"/>
          </a:p>
        </p:txBody>
      </p:sp>
      <p:graphicFrame>
        <p:nvGraphicFramePr>
          <p:cNvPr id="4" name="Diagram 3" descr="P450#yIS1">
            <a:extLst>
              <a:ext uri="{FF2B5EF4-FFF2-40B4-BE49-F238E27FC236}">
                <a16:creationId xmlns:a16="http://schemas.microsoft.com/office/drawing/2014/main" id="{187E5E49-1F61-4D4D-BBA3-335141F7BC8E}"/>
              </a:ext>
            </a:extLst>
          </p:cNvPr>
          <p:cNvGraphicFramePr/>
          <p:nvPr/>
        </p:nvGraphicFramePr>
        <p:xfrm>
          <a:off x="3999677" y="756519"/>
          <a:ext cx="5071959" cy="41509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4" descr="P1015#yIS1">
            <a:extLst>
              <a:ext uri="{FF2B5EF4-FFF2-40B4-BE49-F238E27FC236}">
                <a16:creationId xmlns:a16="http://schemas.microsoft.com/office/drawing/2014/main" id="{58DE77EF-00D7-4F09-9B19-7B4565B7D92A}"/>
              </a:ext>
            </a:extLst>
          </p:cNvPr>
          <p:cNvPicPr/>
          <p:nvPr/>
        </p:nvPicPr>
        <p:blipFill>
          <a:blip r:embed="rId7" cstate="print">
            <a:extLst>
              <a:ext uri="{28A0092B-C50C-407E-A947-70E740481C1C}">
                <a14:useLocalDpi xmlns:a14="http://schemas.microsoft.com/office/drawing/2010/main" val="0"/>
              </a:ext>
            </a:extLst>
          </a:blip>
          <a:stretch>
            <a:fillRect/>
          </a:stretch>
        </p:blipFill>
        <p:spPr>
          <a:xfrm>
            <a:off x="585708" y="3039592"/>
            <a:ext cx="1590074" cy="2168507"/>
          </a:xfrm>
          <a:prstGeom prst="rect">
            <a:avLst/>
          </a:prstGeom>
          <a:ln>
            <a:noFill/>
          </a:ln>
          <a:effectLst>
            <a:outerShdw blurRad="292100" dist="139700" dir="2700000" algn="tl" rotWithShape="0">
              <a:srgbClr val="333333">
                <a:alpha val="65000"/>
              </a:srgbClr>
            </a:outerShdw>
          </a:effectLst>
        </p:spPr>
      </p:pic>
      <p:sp>
        <p:nvSpPr>
          <p:cNvPr id="6" name="TextBox 5">
            <a:extLst>
              <a:ext uri="{FF2B5EF4-FFF2-40B4-BE49-F238E27FC236}">
                <a16:creationId xmlns:a16="http://schemas.microsoft.com/office/drawing/2014/main" id="{4B60E6AE-CC7C-4B2E-AB58-6240B05FDE2B}"/>
              </a:ext>
            </a:extLst>
          </p:cNvPr>
          <p:cNvSpPr txBox="1"/>
          <p:nvPr/>
        </p:nvSpPr>
        <p:spPr>
          <a:xfrm>
            <a:off x="128113" y="1386889"/>
            <a:ext cx="3871564" cy="1384995"/>
          </a:xfrm>
          <a:prstGeom prst="rect">
            <a:avLst/>
          </a:prstGeom>
          <a:noFill/>
        </p:spPr>
        <p:txBody>
          <a:bodyPr wrap="square" rtlCol="0">
            <a:spAutoFit/>
          </a:bodyPr>
          <a:lstStyle/>
          <a:p>
            <a:pPr marL="214313" indent="-214313">
              <a:buFont typeface="Arial" panose="020B0604020202020204" pitchFamily="34" charset="0"/>
              <a:buChar char="•"/>
            </a:pPr>
            <a:r>
              <a:rPr lang="en-US" sz="1400" dirty="0"/>
              <a:t>Geotermi </a:t>
            </a:r>
            <a:r>
              <a:rPr lang="en-US" sz="1400" dirty="0" err="1"/>
              <a:t>er</a:t>
            </a:r>
            <a:r>
              <a:rPr lang="en-US" sz="1400" dirty="0"/>
              <a:t> </a:t>
            </a:r>
            <a:r>
              <a:rPr lang="en-US" sz="1400" dirty="0" err="1"/>
              <a:t>undersøgt</a:t>
            </a:r>
            <a:r>
              <a:rPr lang="en-US" sz="1400" dirty="0"/>
              <a:t> </a:t>
            </a:r>
            <a:r>
              <a:rPr lang="en-US" sz="1400" dirty="0" err="1"/>
              <a:t>indenfor</a:t>
            </a:r>
            <a:r>
              <a:rPr lang="en-US" sz="1400" dirty="0"/>
              <a:t> </a:t>
            </a:r>
            <a:r>
              <a:rPr lang="en-US" sz="1400" dirty="0" err="1"/>
              <a:t>områderne</a:t>
            </a:r>
            <a:r>
              <a:rPr lang="en-US" sz="1400" dirty="0"/>
              <a:t>:</a:t>
            </a:r>
          </a:p>
          <a:p>
            <a:pPr marL="557213" lvl="1" indent="-214313">
              <a:buFont typeface="Arial" panose="020B0604020202020204" pitchFamily="34" charset="0"/>
              <a:buChar char="•"/>
            </a:pPr>
            <a:r>
              <a:rPr lang="en-US" sz="1400" dirty="0" err="1"/>
              <a:t>Østjylland</a:t>
            </a:r>
            <a:r>
              <a:rPr lang="en-US" sz="1400" dirty="0"/>
              <a:t>, </a:t>
            </a:r>
            <a:r>
              <a:rPr lang="en-US" sz="1400" dirty="0" err="1"/>
              <a:t>Sjælland</a:t>
            </a:r>
            <a:r>
              <a:rPr lang="en-US" sz="1400" dirty="0"/>
              <a:t>, Aalborg og </a:t>
            </a:r>
            <a:r>
              <a:rPr lang="en-US" sz="1400" dirty="0" err="1"/>
              <a:t>Sønderborg</a:t>
            </a:r>
            <a:endParaRPr lang="en-US" sz="1400" dirty="0"/>
          </a:p>
          <a:p>
            <a:pPr marL="214313" indent="-214313">
              <a:buFont typeface="Arial" panose="020B0604020202020204" pitchFamily="34" charset="0"/>
              <a:buChar char="•"/>
            </a:pPr>
            <a:r>
              <a:rPr lang="en-US" sz="1400" dirty="0" err="1"/>
              <a:t>Undersøges</a:t>
            </a:r>
            <a:r>
              <a:rPr lang="en-US" sz="1400" dirty="0"/>
              <a:t> i forhold </a:t>
            </a:r>
            <a:r>
              <a:rPr lang="en-US" sz="1400" dirty="0" err="1"/>
              <a:t>til</a:t>
            </a:r>
            <a:r>
              <a:rPr lang="en-US" sz="1400" dirty="0"/>
              <a:t> 40 </a:t>
            </a:r>
            <a:r>
              <a:rPr lang="en-US" sz="1400" dirty="0" err="1"/>
              <a:t>forskellige</a:t>
            </a:r>
            <a:r>
              <a:rPr lang="en-US" sz="1400" dirty="0"/>
              <a:t> </a:t>
            </a:r>
            <a:r>
              <a:rPr lang="en-US" sz="1400" dirty="0" err="1"/>
              <a:t>scenarier</a:t>
            </a:r>
            <a:endParaRPr lang="en-US" sz="1400" dirty="0"/>
          </a:p>
          <a:p>
            <a:pPr marL="600075" lvl="1" indent="-257175">
              <a:buFont typeface="+mj-lt"/>
              <a:buAutoNum type="arabicPeriod"/>
            </a:pPr>
            <a:r>
              <a:rPr lang="en-US" sz="1400" dirty="0" err="1"/>
              <a:t>Klynger</a:t>
            </a:r>
            <a:r>
              <a:rPr lang="en-US" sz="1400" dirty="0"/>
              <a:t> </a:t>
            </a:r>
            <a:r>
              <a:rPr lang="en-US" sz="1400" dirty="0" err="1"/>
              <a:t>på</a:t>
            </a:r>
            <a:r>
              <a:rPr lang="en-US" sz="1400" dirty="0"/>
              <a:t> 10 MW </a:t>
            </a:r>
            <a:r>
              <a:rPr lang="en-US" sz="1400" dirty="0" err="1"/>
              <a:t>grundlast</a:t>
            </a:r>
            <a:r>
              <a:rPr lang="en-US" sz="1400" dirty="0"/>
              <a:t> </a:t>
            </a:r>
            <a:r>
              <a:rPr lang="en-US" sz="1400" dirty="0" err="1"/>
              <a:t>kapacitet</a:t>
            </a:r>
            <a:endParaRPr lang="en-US" sz="1400" dirty="0"/>
          </a:p>
          <a:p>
            <a:pPr marL="600075" lvl="1" indent="-257175">
              <a:buFont typeface="+mj-lt"/>
              <a:buAutoNum type="arabicPeriod"/>
            </a:pPr>
            <a:r>
              <a:rPr lang="en-US" sz="1400" dirty="0" err="1"/>
              <a:t>Klynger</a:t>
            </a:r>
            <a:r>
              <a:rPr lang="en-US" sz="1400" dirty="0"/>
              <a:t> </a:t>
            </a:r>
            <a:r>
              <a:rPr lang="en-US" sz="1400" dirty="0" err="1"/>
              <a:t>på</a:t>
            </a:r>
            <a:r>
              <a:rPr lang="en-US" sz="1400" dirty="0"/>
              <a:t> 70 MW </a:t>
            </a:r>
            <a:r>
              <a:rPr lang="en-US" sz="1400" dirty="0" err="1"/>
              <a:t>grundlast</a:t>
            </a:r>
            <a:r>
              <a:rPr lang="en-US" sz="1400" dirty="0"/>
              <a:t> </a:t>
            </a:r>
            <a:r>
              <a:rPr lang="en-US" sz="1400" dirty="0" err="1"/>
              <a:t>kapacitet</a:t>
            </a:r>
            <a:endParaRPr lang="en-US" sz="1400" dirty="0"/>
          </a:p>
        </p:txBody>
      </p:sp>
      <p:pic>
        <p:nvPicPr>
          <p:cNvPr id="7" name="Billede 6">
            <a:extLst>
              <a:ext uri="{FF2B5EF4-FFF2-40B4-BE49-F238E27FC236}">
                <a16:creationId xmlns:a16="http://schemas.microsoft.com/office/drawing/2014/main" id="{4FC4412C-BA19-473E-B856-46DDFF16D244}"/>
              </a:ext>
            </a:extLst>
          </p:cNvPr>
          <p:cNvPicPr>
            <a:picLocks noChangeAspect="1"/>
          </p:cNvPicPr>
          <p:nvPr/>
        </p:nvPicPr>
        <p:blipFill>
          <a:blip r:embed="rId8"/>
          <a:stretch>
            <a:fillRect/>
          </a:stretch>
        </p:blipFill>
        <p:spPr>
          <a:xfrm>
            <a:off x="7971860" y="3505640"/>
            <a:ext cx="1026534" cy="1460309"/>
          </a:xfrm>
          <a:prstGeom prst="rect">
            <a:avLst/>
          </a:prstGeom>
          <a:ln>
            <a:solidFill>
              <a:schemeClr val="tx1"/>
            </a:solidFill>
          </a:ln>
        </p:spPr>
      </p:pic>
    </p:spTree>
    <p:extLst>
      <p:ext uri="{BB962C8B-B14F-4D97-AF65-F5344CB8AC3E}">
        <p14:creationId xmlns:p14="http://schemas.microsoft.com/office/powerpoint/2010/main" val="6069248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0A5B7F-13B4-4382-84AD-EB3A61955E6D}"/>
              </a:ext>
            </a:extLst>
          </p:cNvPr>
          <p:cNvSpPr>
            <a:spLocks noGrp="1"/>
          </p:cNvSpPr>
          <p:nvPr>
            <p:ph type="title"/>
          </p:nvPr>
        </p:nvSpPr>
        <p:spPr>
          <a:xfrm>
            <a:off x="101608" y="687370"/>
            <a:ext cx="7886700" cy="994172"/>
          </a:xfrm>
        </p:spPr>
        <p:txBody>
          <a:bodyPr>
            <a:normAutofit/>
          </a:bodyPr>
          <a:lstStyle/>
          <a:p>
            <a:r>
              <a:rPr lang="da-DK" sz="3000" dirty="0"/>
              <a:t>Industriel overskudsvarme</a:t>
            </a:r>
            <a:endParaRPr lang="en-US" sz="3000" dirty="0"/>
          </a:p>
        </p:txBody>
      </p:sp>
      <p:sp>
        <p:nvSpPr>
          <p:cNvPr id="3" name="Content Placeholder 2">
            <a:extLst>
              <a:ext uri="{FF2B5EF4-FFF2-40B4-BE49-F238E27FC236}">
                <a16:creationId xmlns:a16="http://schemas.microsoft.com/office/drawing/2014/main" id="{6A8E2F14-E94C-400E-B2C4-1BAA2B831892}"/>
              </a:ext>
            </a:extLst>
          </p:cNvPr>
          <p:cNvSpPr>
            <a:spLocks noGrp="1"/>
          </p:cNvSpPr>
          <p:nvPr>
            <p:ph idx="1"/>
          </p:nvPr>
        </p:nvSpPr>
        <p:spPr>
          <a:xfrm>
            <a:off x="302607" y="1896639"/>
            <a:ext cx="4515429" cy="3048341"/>
          </a:xfrm>
        </p:spPr>
        <p:txBody>
          <a:bodyPr>
            <a:normAutofit fontScale="92500" lnSpcReduction="20000"/>
          </a:bodyPr>
          <a:lstStyle/>
          <a:p>
            <a:r>
              <a:rPr lang="en-US" dirty="0"/>
              <a:t>Data </a:t>
            </a:r>
            <a:r>
              <a:rPr lang="en-US" dirty="0" err="1"/>
              <a:t>fra</a:t>
            </a:r>
            <a:r>
              <a:rPr lang="en-US" dirty="0"/>
              <a:t> Det Centrale </a:t>
            </a:r>
            <a:r>
              <a:rPr lang="en-US" dirty="0" err="1"/>
              <a:t>Virksomhedsregister</a:t>
            </a:r>
            <a:r>
              <a:rPr lang="en-US" dirty="0"/>
              <a:t> CVR</a:t>
            </a:r>
          </a:p>
          <a:p>
            <a:pPr lvl="1"/>
            <a:r>
              <a:rPr lang="en-US" dirty="0"/>
              <a:t>46 </a:t>
            </a:r>
            <a:r>
              <a:rPr lang="en-US" dirty="0" err="1"/>
              <a:t>brancher</a:t>
            </a:r>
            <a:endParaRPr lang="en-US" dirty="0"/>
          </a:p>
          <a:p>
            <a:pPr lvl="1"/>
            <a:r>
              <a:rPr lang="en-US" dirty="0"/>
              <a:t>~ 9000 </a:t>
            </a:r>
            <a:r>
              <a:rPr lang="en-US" dirty="0" err="1"/>
              <a:t>virksomheder</a:t>
            </a:r>
            <a:endParaRPr lang="en-US" dirty="0"/>
          </a:p>
          <a:p>
            <a:r>
              <a:rPr lang="en-US" dirty="0" err="1"/>
              <a:t>Overskudsvarmepotentiale</a:t>
            </a:r>
            <a:r>
              <a:rPr lang="en-US" dirty="0"/>
              <a:t> </a:t>
            </a:r>
            <a:r>
              <a:rPr lang="en-US" dirty="0" err="1"/>
              <a:t>fundet</a:t>
            </a:r>
            <a:r>
              <a:rPr lang="en-US" dirty="0"/>
              <a:t> </a:t>
            </a:r>
            <a:r>
              <a:rPr lang="en-US" dirty="0" err="1"/>
              <a:t>vha</a:t>
            </a:r>
            <a:r>
              <a:rPr lang="en-US" dirty="0"/>
              <a:t>. top-down model</a:t>
            </a:r>
          </a:p>
          <a:p>
            <a:pPr lvl="1"/>
            <a:r>
              <a:rPr lang="en-US" dirty="0" err="1"/>
              <a:t>Bruttoenergiforbrug</a:t>
            </a:r>
            <a:r>
              <a:rPr lang="en-US" dirty="0"/>
              <a:t> for </a:t>
            </a:r>
            <a:r>
              <a:rPr lang="en-US" dirty="0" err="1"/>
              <a:t>hver</a:t>
            </a:r>
            <a:r>
              <a:rPr lang="en-US" dirty="0"/>
              <a:t> </a:t>
            </a:r>
            <a:r>
              <a:rPr lang="en-US" dirty="0" err="1"/>
              <a:t>branche</a:t>
            </a:r>
            <a:r>
              <a:rPr lang="en-US" dirty="0"/>
              <a:t> </a:t>
            </a:r>
            <a:r>
              <a:rPr lang="en-US" dirty="0" err="1"/>
              <a:t>omregnes</a:t>
            </a:r>
            <a:r>
              <a:rPr lang="en-US" dirty="0"/>
              <a:t> </a:t>
            </a:r>
            <a:r>
              <a:rPr lang="en-US" dirty="0" err="1"/>
              <a:t>til</a:t>
            </a:r>
            <a:r>
              <a:rPr lang="en-US" dirty="0"/>
              <a:t> </a:t>
            </a:r>
            <a:r>
              <a:rPr lang="en-US" dirty="0" err="1"/>
              <a:t>potentiale</a:t>
            </a:r>
            <a:r>
              <a:rPr lang="en-US" dirty="0"/>
              <a:t> og </a:t>
            </a:r>
            <a:r>
              <a:rPr lang="en-US" dirty="0" err="1"/>
              <a:t>fordeles</a:t>
            </a:r>
            <a:r>
              <a:rPr lang="en-US" dirty="0"/>
              <a:t> </a:t>
            </a:r>
            <a:r>
              <a:rPr lang="en-US" dirty="0" err="1"/>
              <a:t>ud</a:t>
            </a:r>
            <a:r>
              <a:rPr lang="en-US" dirty="0"/>
              <a:t> </a:t>
            </a:r>
            <a:r>
              <a:rPr lang="en-US" dirty="0" err="1"/>
              <a:t>ift</a:t>
            </a:r>
            <a:r>
              <a:rPr lang="en-US" dirty="0"/>
              <a:t>. </a:t>
            </a:r>
            <a:r>
              <a:rPr lang="en-US" dirty="0" err="1"/>
              <a:t>Virksomhedernes</a:t>
            </a:r>
            <a:r>
              <a:rPr lang="en-US" dirty="0"/>
              <a:t> </a:t>
            </a:r>
            <a:r>
              <a:rPr lang="en-US" dirty="0" err="1"/>
              <a:t>størrelse</a:t>
            </a:r>
            <a:endParaRPr lang="en-US" dirty="0"/>
          </a:p>
          <a:p>
            <a:pPr lvl="1"/>
            <a:r>
              <a:rPr lang="en-US" dirty="0" err="1"/>
              <a:t>Opdeling</a:t>
            </a:r>
            <a:r>
              <a:rPr lang="en-US" dirty="0"/>
              <a:t> i 3 </a:t>
            </a:r>
            <a:r>
              <a:rPr lang="en-US" dirty="0" err="1"/>
              <a:t>temperaturniveuer</a:t>
            </a:r>
            <a:r>
              <a:rPr lang="en-US" dirty="0"/>
              <a:t> </a:t>
            </a:r>
          </a:p>
          <a:p>
            <a:pPr lvl="2"/>
            <a:r>
              <a:rPr lang="da-DK" dirty="0"/>
              <a:t>&lt;60°C</a:t>
            </a:r>
          </a:p>
          <a:p>
            <a:pPr lvl="2"/>
            <a:r>
              <a:rPr lang="da-DK" dirty="0"/>
              <a:t>60-80°C</a:t>
            </a:r>
          </a:p>
          <a:p>
            <a:pPr lvl="2"/>
            <a:r>
              <a:rPr lang="da-DK" dirty="0"/>
              <a:t>&gt; 80°C</a:t>
            </a:r>
            <a:endParaRPr lang="en-US" dirty="0"/>
          </a:p>
          <a:p>
            <a:pPr marL="0" indent="0">
              <a:buNone/>
            </a:pPr>
            <a:endParaRPr lang="en-US" dirty="0"/>
          </a:p>
        </p:txBody>
      </p:sp>
      <p:pic>
        <p:nvPicPr>
          <p:cNvPr id="6" name="Picture 5" descr="P1005#yIS1">
            <a:extLst>
              <a:ext uri="{FF2B5EF4-FFF2-40B4-BE49-F238E27FC236}">
                <a16:creationId xmlns:a16="http://schemas.microsoft.com/office/drawing/2014/main" id="{91BED9BB-7DC7-45C9-A270-09F5C30F0D5D}"/>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99043" y="192135"/>
            <a:ext cx="3883286" cy="4469990"/>
          </a:xfrm>
          <a:prstGeom prst="rect">
            <a:avLst/>
          </a:prstGeom>
          <a:ln>
            <a:noFill/>
          </a:ln>
          <a:effectLst>
            <a:outerShdw blurRad="292100" dist="139700" dir="2700000" algn="tl" rotWithShape="0">
              <a:srgbClr val="333333">
                <a:alpha val="65000"/>
              </a:srgbClr>
            </a:outerShdw>
          </a:effectLst>
        </p:spPr>
      </p:pic>
      <p:pic>
        <p:nvPicPr>
          <p:cNvPr id="5" name="Billede 4">
            <a:extLst>
              <a:ext uri="{FF2B5EF4-FFF2-40B4-BE49-F238E27FC236}">
                <a16:creationId xmlns:a16="http://schemas.microsoft.com/office/drawing/2014/main" id="{027948C5-D1E8-4B69-B9F0-3CAC4D590486}"/>
              </a:ext>
            </a:extLst>
          </p:cNvPr>
          <p:cNvPicPr>
            <a:picLocks noChangeAspect="1"/>
          </p:cNvPicPr>
          <p:nvPr/>
        </p:nvPicPr>
        <p:blipFill>
          <a:blip r:embed="rId3"/>
          <a:stretch>
            <a:fillRect/>
          </a:stretch>
        </p:blipFill>
        <p:spPr>
          <a:xfrm>
            <a:off x="4204306" y="367630"/>
            <a:ext cx="847220" cy="1205224"/>
          </a:xfrm>
          <a:prstGeom prst="rect">
            <a:avLst/>
          </a:prstGeom>
          <a:ln>
            <a:solidFill>
              <a:schemeClr val="tx1"/>
            </a:solidFill>
          </a:ln>
        </p:spPr>
      </p:pic>
    </p:spTree>
    <p:extLst>
      <p:ext uri="{BB962C8B-B14F-4D97-AF65-F5344CB8AC3E}">
        <p14:creationId xmlns:p14="http://schemas.microsoft.com/office/powerpoint/2010/main" val="18772528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4F9CC0A-8B54-4865-8A8E-24A54EC86F5E}"/>
              </a:ext>
            </a:extLst>
          </p:cNvPr>
          <p:cNvSpPr>
            <a:spLocks noGrp="1"/>
          </p:cNvSpPr>
          <p:nvPr>
            <p:ph type="title"/>
          </p:nvPr>
        </p:nvSpPr>
        <p:spPr>
          <a:xfrm>
            <a:off x="159569" y="609806"/>
            <a:ext cx="3757252" cy="1461021"/>
          </a:xfrm>
        </p:spPr>
        <p:txBody>
          <a:bodyPr>
            <a:normAutofit/>
          </a:bodyPr>
          <a:lstStyle/>
          <a:p>
            <a:r>
              <a:rPr lang="da-DK" dirty="0"/>
              <a:t>Europa hungrer efter olie og gas</a:t>
            </a:r>
          </a:p>
        </p:txBody>
      </p:sp>
      <p:sp>
        <p:nvSpPr>
          <p:cNvPr id="3" name="Pladsholder til indhold 2">
            <a:extLst>
              <a:ext uri="{FF2B5EF4-FFF2-40B4-BE49-F238E27FC236}">
                <a16:creationId xmlns:a16="http://schemas.microsoft.com/office/drawing/2014/main" id="{23C19D59-6949-4FEA-8C84-3E1787793770}"/>
              </a:ext>
            </a:extLst>
          </p:cNvPr>
          <p:cNvSpPr>
            <a:spLocks noGrp="1"/>
          </p:cNvSpPr>
          <p:nvPr>
            <p:ph idx="1"/>
          </p:nvPr>
        </p:nvSpPr>
        <p:spPr>
          <a:xfrm>
            <a:off x="356146" y="2011104"/>
            <a:ext cx="2268642" cy="2639607"/>
          </a:xfrm>
        </p:spPr>
        <p:txBody>
          <a:bodyPr/>
          <a:lstStyle/>
          <a:p>
            <a:pPr marL="0" indent="0">
              <a:buNone/>
            </a:pPr>
            <a:r>
              <a:rPr lang="da-DK"/>
              <a:t>Europa har øget sin afhængighed af naturgas</a:t>
            </a:r>
            <a:endParaRPr lang="da-DK" dirty="0"/>
          </a:p>
        </p:txBody>
      </p:sp>
      <p:pic>
        <p:nvPicPr>
          <p:cNvPr id="5" name="Billede 4">
            <a:extLst>
              <a:ext uri="{FF2B5EF4-FFF2-40B4-BE49-F238E27FC236}">
                <a16:creationId xmlns:a16="http://schemas.microsoft.com/office/drawing/2014/main" id="{49EC1484-06BC-41A2-848B-726EF78AA1C7}"/>
              </a:ext>
            </a:extLst>
          </p:cNvPr>
          <p:cNvPicPr>
            <a:picLocks noChangeAspect="1"/>
          </p:cNvPicPr>
          <p:nvPr/>
        </p:nvPicPr>
        <p:blipFill>
          <a:blip r:embed="rId2"/>
          <a:stretch>
            <a:fillRect/>
          </a:stretch>
        </p:blipFill>
        <p:spPr>
          <a:xfrm>
            <a:off x="94036" y="3033243"/>
            <a:ext cx="3633401" cy="1617468"/>
          </a:xfrm>
          <a:prstGeom prst="rect">
            <a:avLst/>
          </a:prstGeom>
        </p:spPr>
      </p:pic>
      <p:pic>
        <p:nvPicPr>
          <p:cNvPr id="2050" name="Picture 2" descr="&#10;Russia has some of the largest natural gas and oil reserves in Europe. The future of European development may rest on Russia's energy supply to the heart of the continent.">
            <a:extLst>
              <a:ext uri="{FF2B5EF4-FFF2-40B4-BE49-F238E27FC236}">
                <a16:creationId xmlns:a16="http://schemas.microsoft.com/office/drawing/2014/main" id="{8D6B56F3-BAFE-4DD1-AD2F-E6BD5F83B51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99556" y="50733"/>
            <a:ext cx="3546743" cy="2661906"/>
          </a:xfrm>
          <a:prstGeom prst="rect">
            <a:avLst/>
          </a:prstGeom>
          <a:noFill/>
          <a:extLst>
            <a:ext uri="{909E8E84-426E-40DD-AFC4-6F175D3DCCD1}">
              <a14:hiddenFill xmlns:a14="http://schemas.microsoft.com/office/drawing/2010/main">
                <a:solidFill>
                  <a:srgbClr val="FFFFFF"/>
                </a:solidFill>
              </a14:hiddenFill>
            </a:ext>
          </a:extLst>
        </p:spPr>
      </p:pic>
      <p:pic>
        <p:nvPicPr>
          <p:cNvPr id="6" name="Billede 5">
            <a:extLst>
              <a:ext uri="{FF2B5EF4-FFF2-40B4-BE49-F238E27FC236}">
                <a16:creationId xmlns:a16="http://schemas.microsoft.com/office/drawing/2014/main" id="{68E4C6F7-1F2B-49FE-8A13-8E63E6ED7DF2}"/>
              </a:ext>
            </a:extLst>
          </p:cNvPr>
          <p:cNvPicPr>
            <a:picLocks noChangeAspect="1"/>
          </p:cNvPicPr>
          <p:nvPr/>
        </p:nvPicPr>
        <p:blipFill>
          <a:blip r:embed="rId4"/>
          <a:stretch>
            <a:fillRect/>
          </a:stretch>
        </p:blipFill>
        <p:spPr>
          <a:xfrm>
            <a:off x="3829050" y="2259891"/>
            <a:ext cx="4318511" cy="2639608"/>
          </a:xfrm>
          <a:prstGeom prst="rect">
            <a:avLst/>
          </a:prstGeom>
        </p:spPr>
      </p:pic>
      <p:pic>
        <p:nvPicPr>
          <p:cNvPr id="8" name="Picture 5" descr="Foto af boreplatform">
            <a:extLst>
              <a:ext uri="{FF2B5EF4-FFF2-40B4-BE49-F238E27FC236}">
                <a16:creationId xmlns:a16="http://schemas.microsoft.com/office/drawing/2014/main" id="{1D621048-A502-4280-BF9D-BE680FB5036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44946" y="747422"/>
            <a:ext cx="2191649" cy="1235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descr="Billede">
            <a:extLst>
              <a:ext uri="{FF2B5EF4-FFF2-40B4-BE49-F238E27FC236}">
                <a16:creationId xmlns:a16="http://schemas.microsoft.com/office/drawing/2014/main" id="{4ED75762-1910-450C-AB4C-EC11BC6DD74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04781" y="2894995"/>
            <a:ext cx="3504293" cy="21935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56637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C89B0-5AAE-405C-AC0A-997AB6F2EC3E}"/>
              </a:ext>
            </a:extLst>
          </p:cNvPr>
          <p:cNvSpPr>
            <a:spLocks noGrp="1"/>
          </p:cNvSpPr>
          <p:nvPr>
            <p:ph type="title"/>
          </p:nvPr>
        </p:nvSpPr>
        <p:spPr>
          <a:xfrm>
            <a:off x="342900" y="810800"/>
            <a:ext cx="8054861" cy="994172"/>
          </a:xfrm>
        </p:spPr>
        <p:txBody>
          <a:bodyPr>
            <a:normAutofit/>
          </a:bodyPr>
          <a:lstStyle/>
          <a:p>
            <a:r>
              <a:rPr lang="da-DK" sz="2400" dirty="0"/>
              <a:t>Kort fra Varmeplan Danmark 2021 tilgængelige online</a:t>
            </a:r>
            <a:endParaRPr lang="en-US" sz="2400" dirty="0"/>
          </a:p>
        </p:txBody>
      </p:sp>
      <p:sp>
        <p:nvSpPr>
          <p:cNvPr id="3" name="Content Placeholder 2">
            <a:extLst>
              <a:ext uri="{FF2B5EF4-FFF2-40B4-BE49-F238E27FC236}">
                <a16:creationId xmlns:a16="http://schemas.microsoft.com/office/drawing/2014/main" id="{3003D274-CA06-4D9E-85C7-3AEF5F808214}"/>
              </a:ext>
            </a:extLst>
          </p:cNvPr>
          <p:cNvSpPr>
            <a:spLocks noGrp="1"/>
          </p:cNvSpPr>
          <p:nvPr>
            <p:ph idx="1"/>
          </p:nvPr>
        </p:nvSpPr>
        <p:spPr>
          <a:xfrm>
            <a:off x="342900" y="1768865"/>
            <a:ext cx="3370881" cy="3041974"/>
          </a:xfrm>
        </p:spPr>
        <p:txBody>
          <a:bodyPr>
            <a:normAutofit/>
          </a:bodyPr>
          <a:lstStyle/>
          <a:p>
            <a:pPr marL="0" indent="0">
              <a:buNone/>
            </a:pPr>
            <a:r>
              <a:rPr lang="da-DK" sz="1500" dirty="0"/>
              <a:t>Findes på hjemmesiden:</a:t>
            </a:r>
            <a:endParaRPr lang="da-DK" sz="1500" dirty="0">
              <a:hlinkClick r:id="rId2">
                <a:extLst>
                  <a:ext uri="{A12FA001-AC4F-418D-AE19-62706E023703}">
                    <ahyp:hlinkClr xmlns:ahyp="http://schemas.microsoft.com/office/drawing/2018/hyperlinkcolor" val="tx"/>
                  </a:ext>
                </a:extLst>
              </a:hlinkClick>
            </a:endParaRPr>
          </a:p>
          <a:p>
            <a:pPr marL="0" indent="0">
              <a:buNone/>
            </a:pPr>
            <a:r>
              <a:rPr lang="en-US" sz="1350" dirty="0">
                <a:hlinkClick r:id="rId2"/>
              </a:rPr>
              <a:t>https://energymaps.plan.aau.dk/</a:t>
            </a:r>
            <a:r>
              <a:rPr lang="en-US" sz="1350" dirty="0"/>
              <a:t> </a:t>
            </a:r>
          </a:p>
          <a:p>
            <a:pPr marL="0" indent="0">
              <a:buNone/>
            </a:pPr>
            <a:endParaRPr lang="en-US" sz="1350" dirty="0"/>
          </a:p>
          <a:p>
            <a:pPr marL="0" indent="0">
              <a:buNone/>
            </a:pPr>
            <a:r>
              <a:rPr lang="da-DK" sz="1350" dirty="0"/>
              <a:t>Her findes 4 forskellige kort:</a:t>
            </a:r>
          </a:p>
          <a:p>
            <a:pPr marL="342900" indent="-342900">
              <a:buFont typeface="+mj-lt"/>
              <a:buAutoNum type="arabicPeriod"/>
            </a:pPr>
            <a:r>
              <a:rPr lang="da-DK" sz="1350" dirty="0"/>
              <a:t>Varmeforbrug på byområder</a:t>
            </a:r>
          </a:p>
          <a:p>
            <a:pPr marL="342900" indent="-342900">
              <a:buFont typeface="+mj-lt"/>
              <a:buAutoNum type="arabicPeriod"/>
            </a:pPr>
            <a:r>
              <a:rPr lang="da-DK" sz="1350" dirty="0"/>
              <a:t>Fjernvarmeudvidelsesscenarier</a:t>
            </a:r>
          </a:p>
          <a:p>
            <a:pPr marL="342900" indent="-342900">
              <a:buFont typeface="+mj-lt"/>
              <a:buAutoNum type="arabicPeriod"/>
            </a:pPr>
            <a:r>
              <a:rPr lang="da-DK" sz="1350" dirty="0"/>
              <a:t>Industriel overskudsvarme</a:t>
            </a:r>
          </a:p>
          <a:p>
            <a:pPr marL="342900" indent="-342900">
              <a:buFont typeface="+mj-lt"/>
              <a:buAutoNum type="arabicPeriod"/>
            </a:pPr>
            <a:r>
              <a:rPr lang="da-DK" sz="1350" dirty="0"/>
              <a:t>Kort over ”ledig” </a:t>
            </a:r>
            <a:r>
              <a:rPr lang="da-DK" sz="1350" dirty="0" err="1"/>
              <a:t>grundlast</a:t>
            </a:r>
            <a:r>
              <a:rPr lang="da-DK" sz="1350" dirty="0"/>
              <a:t> i fjernvarmen</a:t>
            </a:r>
          </a:p>
        </p:txBody>
      </p:sp>
      <p:pic>
        <p:nvPicPr>
          <p:cNvPr id="5" name="Picture 4">
            <a:extLst>
              <a:ext uri="{FF2B5EF4-FFF2-40B4-BE49-F238E27FC236}">
                <a16:creationId xmlns:a16="http://schemas.microsoft.com/office/drawing/2014/main" id="{4C1D76EE-06F1-4761-A83F-75158660953F}"/>
              </a:ext>
            </a:extLst>
          </p:cNvPr>
          <p:cNvPicPr>
            <a:picLocks noChangeAspect="1"/>
          </p:cNvPicPr>
          <p:nvPr/>
        </p:nvPicPr>
        <p:blipFill>
          <a:blip r:embed="rId3"/>
          <a:stretch>
            <a:fillRect/>
          </a:stretch>
        </p:blipFill>
        <p:spPr>
          <a:xfrm>
            <a:off x="4890117" y="1768865"/>
            <a:ext cx="3910983" cy="2863858"/>
          </a:xfrm>
          <a:prstGeom prst="rect">
            <a:avLst/>
          </a:prstGeom>
          <a:ln>
            <a:noFill/>
          </a:ln>
          <a:effectLst>
            <a:outerShdw blurRad="292100" dist="139700" dir="2700000" algn="tl" rotWithShape="0">
              <a:srgbClr val="333333">
                <a:alpha val="65000"/>
              </a:srgbClr>
            </a:outerShdw>
          </a:effectLst>
        </p:spPr>
      </p:pic>
      <p:pic>
        <p:nvPicPr>
          <p:cNvPr id="6" name="Billede 5">
            <a:extLst>
              <a:ext uri="{FF2B5EF4-FFF2-40B4-BE49-F238E27FC236}">
                <a16:creationId xmlns:a16="http://schemas.microsoft.com/office/drawing/2014/main" id="{85210FB4-1D6F-49D2-8B80-3B5A1F6B49E1}"/>
              </a:ext>
            </a:extLst>
          </p:cNvPr>
          <p:cNvPicPr>
            <a:picLocks noChangeAspect="1"/>
          </p:cNvPicPr>
          <p:nvPr/>
        </p:nvPicPr>
        <p:blipFill>
          <a:blip r:embed="rId4"/>
          <a:stretch>
            <a:fillRect/>
          </a:stretch>
        </p:blipFill>
        <p:spPr>
          <a:xfrm>
            <a:off x="3830274" y="3443870"/>
            <a:ext cx="847220" cy="1205224"/>
          </a:xfrm>
          <a:prstGeom prst="rect">
            <a:avLst/>
          </a:prstGeom>
          <a:ln>
            <a:solidFill>
              <a:schemeClr val="tx1"/>
            </a:solidFill>
          </a:ln>
        </p:spPr>
      </p:pic>
    </p:spTree>
    <p:extLst>
      <p:ext uri="{BB962C8B-B14F-4D97-AF65-F5344CB8AC3E}">
        <p14:creationId xmlns:p14="http://schemas.microsoft.com/office/powerpoint/2010/main" val="42811000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2BB06A-5ECE-412D-A751-185C312BE127}"/>
              </a:ext>
            </a:extLst>
          </p:cNvPr>
          <p:cNvSpPr>
            <a:spLocks noGrp="1"/>
          </p:cNvSpPr>
          <p:nvPr>
            <p:ph type="title"/>
          </p:nvPr>
        </p:nvSpPr>
        <p:spPr>
          <a:xfrm>
            <a:off x="192718" y="661410"/>
            <a:ext cx="4759311" cy="994172"/>
          </a:xfrm>
        </p:spPr>
        <p:txBody>
          <a:bodyPr/>
          <a:lstStyle/>
          <a:p>
            <a:r>
              <a:rPr lang="en-US" dirty="0" err="1"/>
              <a:t>Varmebehov</a:t>
            </a:r>
            <a:r>
              <a:rPr lang="en-US" dirty="0"/>
              <a:t> i </a:t>
            </a:r>
            <a:r>
              <a:rPr lang="en-US" dirty="0" err="1"/>
              <a:t>byområder</a:t>
            </a:r>
            <a:endParaRPr lang="en-US" dirty="0"/>
          </a:p>
        </p:txBody>
      </p:sp>
      <p:sp>
        <p:nvSpPr>
          <p:cNvPr id="8" name="Title 1">
            <a:extLst>
              <a:ext uri="{FF2B5EF4-FFF2-40B4-BE49-F238E27FC236}">
                <a16:creationId xmlns:a16="http://schemas.microsoft.com/office/drawing/2014/main" id="{0953493B-BE86-4E31-A8D7-D00972914098}"/>
              </a:ext>
            </a:extLst>
          </p:cNvPr>
          <p:cNvSpPr txBox="1">
            <a:spLocks/>
          </p:cNvSpPr>
          <p:nvPr/>
        </p:nvSpPr>
        <p:spPr>
          <a:xfrm>
            <a:off x="5060559" y="661410"/>
            <a:ext cx="7886700" cy="994172"/>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300" dirty="0" err="1"/>
              <a:t>Fjernvarmescenarier</a:t>
            </a:r>
            <a:endParaRPr lang="en-US" sz="3300" dirty="0"/>
          </a:p>
        </p:txBody>
      </p:sp>
      <p:pic>
        <p:nvPicPr>
          <p:cNvPr id="4" name="Picture 3">
            <a:extLst>
              <a:ext uri="{FF2B5EF4-FFF2-40B4-BE49-F238E27FC236}">
                <a16:creationId xmlns:a16="http://schemas.microsoft.com/office/drawing/2014/main" id="{58E5B205-7F6A-4436-99AA-1234B38E8FFF}"/>
              </a:ext>
            </a:extLst>
          </p:cNvPr>
          <p:cNvPicPr>
            <a:picLocks noChangeAspect="1"/>
          </p:cNvPicPr>
          <p:nvPr/>
        </p:nvPicPr>
        <p:blipFill>
          <a:blip r:embed="rId2"/>
          <a:stretch>
            <a:fillRect/>
          </a:stretch>
        </p:blipFill>
        <p:spPr>
          <a:xfrm>
            <a:off x="482282" y="1408680"/>
            <a:ext cx="3778135" cy="3423219"/>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B85DF8B5-31FA-45CA-85BC-446A415B780A}"/>
              </a:ext>
            </a:extLst>
          </p:cNvPr>
          <p:cNvPicPr>
            <a:picLocks noChangeAspect="1"/>
          </p:cNvPicPr>
          <p:nvPr/>
        </p:nvPicPr>
        <p:blipFill>
          <a:blip r:embed="rId3"/>
          <a:stretch>
            <a:fillRect/>
          </a:stretch>
        </p:blipFill>
        <p:spPr>
          <a:xfrm>
            <a:off x="4624627" y="1487037"/>
            <a:ext cx="4232156" cy="2419859"/>
          </a:xfrm>
          <a:prstGeom prst="rect">
            <a:avLst/>
          </a:prstGeom>
          <a:ln>
            <a:noFill/>
          </a:ln>
          <a:effectLst>
            <a:outerShdw blurRad="292100" dist="139700" dir="2700000" algn="tl" rotWithShape="0">
              <a:srgbClr val="333333">
                <a:alpha val="65000"/>
              </a:srgbClr>
            </a:outerShdw>
          </a:effectLst>
        </p:spPr>
      </p:pic>
      <p:pic>
        <p:nvPicPr>
          <p:cNvPr id="9" name="Billede 8">
            <a:extLst>
              <a:ext uri="{FF2B5EF4-FFF2-40B4-BE49-F238E27FC236}">
                <a16:creationId xmlns:a16="http://schemas.microsoft.com/office/drawing/2014/main" id="{227E9055-9A53-4330-B6B5-269B43C41DAB}"/>
              </a:ext>
            </a:extLst>
          </p:cNvPr>
          <p:cNvPicPr>
            <a:picLocks noChangeAspect="1"/>
          </p:cNvPicPr>
          <p:nvPr/>
        </p:nvPicPr>
        <p:blipFill>
          <a:blip r:embed="rId4"/>
          <a:stretch>
            <a:fillRect/>
          </a:stretch>
        </p:blipFill>
        <p:spPr>
          <a:xfrm>
            <a:off x="8009563" y="3823697"/>
            <a:ext cx="847220" cy="1205224"/>
          </a:xfrm>
          <a:prstGeom prst="rect">
            <a:avLst/>
          </a:prstGeom>
          <a:ln>
            <a:solidFill>
              <a:schemeClr val="tx1"/>
            </a:solidFill>
          </a:ln>
        </p:spPr>
      </p:pic>
    </p:spTree>
    <p:extLst>
      <p:ext uri="{BB962C8B-B14F-4D97-AF65-F5344CB8AC3E}">
        <p14:creationId xmlns:p14="http://schemas.microsoft.com/office/powerpoint/2010/main" val="31351065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129876A-C57E-4ED4-900B-77C03D7DF955}"/>
              </a:ext>
            </a:extLst>
          </p:cNvPr>
          <p:cNvPicPr/>
          <p:nvPr/>
        </p:nvPicPr>
        <p:blipFill rotWithShape="1">
          <a:blip r:embed="rId2">
            <a:extLst>
              <a:ext uri="{28A0092B-C50C-407E-A947-70E740481C1C}">
                <a14:useLocalDpi xmlns:a14="http://schemas.microsoft.com/office/drawing/2010/main" val="0"/>
              </a:ext>
            </a:extLst>
          </a:blip>
          <a:srcRect l="1076"/>
          <a:stretch/>
        </p:blipFill>
        <p:spPr bwMode="auto">
          <a:xfrm>
            <a:off x="133996" y="1644514"/>
            <a:ext cx="4861345" cy="2636616"/>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C3CBB468-344C-4265-898A-F0EF6D8FCC0D}"/>
              </a:ext>
            </a:extLst>
          </p:cNvPr>
          <p:cNvPicPr/>
          <p:nvPr/>
        </p:nvPicPr>
        <p:blipFill rotWithShape="1">
          <a:blip r:embed="rId3" cstate="print">
            <a:extLst>
              <a:ext uri="{28A0092B-C50C-407E-A947-70E740481C1C}">
                <a14:useLocalDpi xmlns:a14="http://schemas.microsoft.com/office/drawing/2010/main" val="0"/>
              </a:ext>
            </a:extLst>
          </a:blip>
          <a:srcRect t="2279"/>
          <a:stretch/>
        </p:blipFill>
        <p:spPr bwMode="auto">
          <a:xfrm>
            <a:off x="5106814" y="1644514"/>
            <a:ext cx="3803822" cy="2964434"/>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466E29EE-8802-4747-8B58-596B71234584}"/>
              </a:ext>
            </a:extLst>
          </p:cNvPr>
          <p:cNvSpPr txBox="1"/>
          <p:nvPr/>
        </p:nvSpPr>
        <p:spPr>
          <a:xfrm>
            <a:off x="398192" y="661168"/>
            <a:ext cx="2959531" cy="1006429"/>
          </a:xfrm>
          <a:prstGeom prst="rect">
            <a:avLst/>
          </a:prstGeom>
          <a:noFill/>
        </p:spPr>
        <p:txBody>
          <a:bodyPr wrap="square" rtlCol="0">
            <a:spAutoFit/>
          </a:bodyPr>
          <a:lstStyle/>
          <a:p>
            <a:pPr algn="ctr">
              <a:lnSpc>
                <a:spcPct val="90000"/>
              </a:lnSpc>
              <a:spcBef>
                <a:spcPct val="0"/>
              </a:spcBef>
            </a:pPr>
            <a:r>
              <a:rPr lang="en-US" sz="3300" dirty="0" err="1">
                <a:latin typeface="+mj-lt"/>
                <a:ea typeface="+mj-ea"/>
                <a:cs typeface="+mj-cs"/>
              </a:rPr>
              <a:t>Industriel</a:t>
            </a:r>
            <a:r>
              <a:rPr lang="en-US" sz="3300" dirty="0">
                <a:latin typeface="+mj-lt"/>
                <a:ea typeface="+mj-ea"/>
                <a:cs typeface="+mj-cs"/>
              </a:rPr>
              <a:t> </a:t>
            </a:r>
            <a:r>
              <a:rPr lang="en-US" sz="3300" dirty="0" err="1">
                <a:latin typeface="+mj-lt"/>
                <a:ea typeface="+mj-ea"/>
                <a:cs typeface="+mj-cs"/>
              </a:rPr>
              <a:t>overskudsvarme</a:t>
            </a:r>
            <a:endParaRPr lang="en-US" sz="3300" dirty="0">
              <a:latin typeface="+mj-lt"/>
              <a:ea typeface="+mj-ea"/>
              <a:cs typeface="+mj-cs"/>
            </a:endParaRPr>
          </a:p>
        </p:txBody>
      </p:sp>
      <p:sp>
        <p:nvSpPr>
          <p:cNvPr id="8" name="TextBox 7">
            <a:extLst>
              <a:ext uri="{FF2B5EF4-FFF2-40B4-BE49-F238E27FC236}">
                <a16:creationId xmlns:a16="http://schemas.microsoft.com/office/drawing/2014/main" id="{AE483A0F-8D1F-42D4-9CCA-C017F333CDC5}"/>
              </a:ext>
            </a:extLst>
          </p:cNvPr>
          <p:cNvSpPr txBox="1"/>
          <p:nvPr/>
        </p:nvSpPr>
        <p:spPr>
          <a:xfrm>
            <a:off x="4995341" y="610385"/>
            <a:ext cx="3803822" cy="1107996"/>
          </a:xfrm>
          <a:prstGeom prst="rect">
            <a:avLst/>
          </a:prstGeom>
          <a:noFill/>
        </p:spPr>
        <p:txBody>
          <a:bodyPr wrap="square" rtlCol="0">
            <a:spAutoFit/>
          </a:bodyPr>
          <a:lstStyle/>
          <a:p>
            <a:pPr algn="ctr"/>
            <a:r>
              <a:rPr lang="en-US" sz="3300" dirty="0" err="1">
                <a:latin typeface="+mj-lt"/>
                <a:ea typeface="+mj-ea"/>
                <a:cs typeface="+mj-cs"/>
              </a:rPr>
              <a:t>Varmegrundlast</a:t>
            </a:r>
            <a:r>
              <a:rPr lang="en-US" sz="3300" dirty="0">
                <a:latin typeface="+mj-lt"/>
                <a:ea typeface="+mj-ea"/>
                <a:cs typeface="+mj-cs"/>
              </a:rPr>
              <a:t> i </a:t>
            </a:r>
            <a:r>
              <a:rPr lang="en-US" sz="3300" dirty="0" err="1">
                <a:latin typeface="+mj-lt"/>
                <a:ea typeface="+mj-ea"/>
                <a:cs typeface="+mj-cs"/>
              </a:rPr>
              <a:t>fjernvarme</a:t>
            </a:r>
            <a:endParaRPr lang="en-US" sz="3300" dirty="0">
              <a:latin typeface="+mj-lt"/>
              <a:ea typeface="+mj-ea"/>
              <a:cs typeface="+mj-cs"/>
            </a:endParaRPr>
          </a:p>
        </p:txBody>
      </p:sp>
      <p:pic>
        <p:nvPicPr>
          <p:cNvPr id="9" name="Billede 8">
            <a:extLst>
              <a:ext uri="{FF2B5EF4-FFF2-40B4-BE49-F238E27FC236}">
                <a16:creationId xmlns:a16="http://schemas.microsoft.com/office/drawing/2014/main" id="{213E867E-4C19-4304-B81A-903C6ADC1F12}"/>
              </a:ext>
            </a:extLst>
          </p:cNvPr>
          <p:cNvPicPr>
            <a:picLocks noChangeAspect="1"/>
          </p:cNvPicPr>
          <p:nvPr/>
        </p:nvPicPr>
        <p:blipFill>
          <a:blip r:embed="rId4"/>
          <a:stretch>
            <a:fillRect/>
          </a:stretch>
        </p:blipFill>
        <p:spPr>
          <a:xfrm>
            <a:off x="3881633" y="208031"/>
            <a:ext cx="919944" cy="1308678"/>
          </a:xfrm>
          <a:prstGeom prst="rect">
            <a:avLst/>
          </a:prstGeom>
          <a:ln>
            <a:solidFill>
              <a:schemeClr val="tx1"/>
            </a:solidFill>
          </a:ln>
        </p:spPr>
      </p:pic>
    </p:spTree>
    <p:extLst>
      <p:ext uri="{BB962C8B-B14F-4D97-AF65-F5344CB8AC3E}">
        <p14:creationId xmlns:p14="http://schemas.microsoft.com/office/powerpoint/2010/main" val="32549811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466E29EE-8802-4747-8B58-596B71234584}"/>
              </a:ext>
            </a:extLst>
          </p:cNvPr>
          <p:cNvSpPr txBox="1"/>
          <p:nvPr/>
        </p:nvSpPr>
        <p:spPr>
          <a:xfrm>
            <a:off x="368608" y="891413"/>
            <a:ext cx="8406783" cy="549381"/>
          </a:xfrm>
          <a:prstGeom prst="rect">
            <a:avLst/>
          </a:prstGeom>
          <a:noFill/>
        </p:spPr>
        <p:txBody>
          <a:bodyPr wrap="square" rtlCol="0">
            <a:spAutoFit/>
          </a:bodyPr>
          <a:lstStyle/>
          <a:p>
            <a:pPr algn="ctr">
              <a:lnSpc>
                <a:spcPct val="90000"/>
              </a:lnSpc>
              <a:spcBef>
                <a:spcPct val="0"/>
              </a:spcBef>
            </a:pPr>
            <a:r>
              <a:rPr lang="en-US" sz="3300" dirty="0" err="1">
                <a:latin typeface="+mj-lt"/>
                <a:ea typeface="+mj-ea"/>
                <a:cs typeface="+mj-cs"/>
              </a:rPr>
              <a:t>Kommunepakke</a:t>
            </a:r>
            <a:r>
              <a:rPr lang="en-US" sz="3300" dirty="0">
                <a:latin typeface="+mj-lt"/>
                <a:ea typeface="+mj-ea"/>
                <a:cs typeface="+mj-cs"/>
              </a:rPr>
              <a:t> med </a:t>
            </a:r>
            <a:r>
              <a:rPr lang="en-US" sz="3300" dirty="0" err="1">
                <a:latin typeface="+mj-lt"/>
                <a:ea typeface="+mj-ea"/>
                <a:cs typeface="+mj-cs"/>
              </a:rPr>
              <a:t>fjernvarmepotentiale</a:t>
            </a:r>
            <a:r>
              <a:rPr lang="en-US" sz="3300" dirty="0">
                <a:latin typeface="+mj-lt"/>
                <a:ea typeface="+mj-ea"/>
                <a:cs typeface="+mj-cs"/>
              </a:rPr>
              <a:t> </a:t>
            </a:r>
          </a:p>
        </p:txBody>
      </p:sp>
      <p:sp>
        <p:nvSpPr>
          <p:cNvPr id="10" name="Content Placeholder 2">
            <a:extLst>
              <a:ext uri="{FF2B5EF4-FFF2-40B4-BE49-F238E27FC236}">
                <a16:creationId xmlns:a16="http://schemas.microsoft.com/office/drawing/2014/main" id="{917E5752-75EA-47C8-B622-A5F682B8431A}"/>
              </a:ext>
            </a:extLst>
          </p:cNvPr>
          <p:cNvSpPr>
            <a:spLocks noGrp="1"/>
          </p:cNvSpPr>
          <p:nvPr>
            <p:ph idx="1"/>
          </p:nvPr>
        </p:nvSpPr>
        <p:spPr>
          <a:xfrm>
            <a:off x="382613" y="1591977"/>
            <a:ext cx="5908037" cy="3289209"/>
          </a:xfrm>
        </p:spPr>
        <p:txBody>
          <a:bodyPr>
            <a:normAutofit/>
          </a:bodyPr>
          <a:lstStyle/>
          <a:p>
            <a:r>
              <a:rPr lang="da-DK" dirty="0"/>
              <a:t>Vi arbejder pt. på at lave en kommunepakke indeholdende følgende opdelt per kommune:</a:t>
            </a:r>
          </a:p>
          <a:p>
            <a:pPr lvl="1"/>
            <a:r>
              <a:rPr lang="da-DK" dirty="0"/>
              <a:t>Datafiler med GIS kort for fjernvarmescenarier</a:t>
            </a:r>
          </a:p>
          <a:p>
            <a:pPr lvl="1"/>
            <a:r>
              <a:rPr lang="da-DK" dirty="0"/>
              <a:t>PDF fil med kort i høj opløsning</a:t>
            </a:r>
          </a:p>
          <a:p>
            <a:r>
              <a:rPr lang="da-DK" dirty="0"/>
              <a:t>Bliver tilgængelig snart på:</a:t>
            </a:r>
          </a:p>
          <a:p>
            <a:pPr marL="0" indent="0">
              <a:buNone/>
            </a:pPr>
            <a:r>
              <a:rPr lang="en-US" dirty="0">
                <a:hlinkClick r:id="rId2"/>
              </a:rPr>
              <a:t>https://energymaps.plan.aau.dk/</a:t>
            </a:r>
            <a:r>
              <a:rPr lang="en-US" dirty="0"/>
              <a:t> og</a:t>
            </a:r>
          </a:p>
          <a:p>
            <a:pPr marL="0" indent="0">
              <a:buNone/>
            </a:pPr>
            <a:r>
              <a:rPr lang="en-US" dirty="0">
                <a:hlinkClick r:id="rId3"/>
              </a:rPr>
              <a:t>www.energyplan.eu/varmeplan</a:t>
            </a:r>
            <a:endParaRPr lang="en-US" dirty="0"/>
          </a:p>
          <a:p>
            <a:pPr marL="0" indent="0">
              <a:buNone/>
            </a:pPr>
            <a:endParaRPr lang="en-US" dirty="0"/>
          </a:p>
          <a:p>
            <a:pPr marL="0" indent="0">
              <a:buNone/>
            </a:pPr>
            <a:endParaRPr lang="en-US" dirty="0"/>
          </a:p>
          <a:p>
            <a:endParaRPr lang="da-DK" dirty="0"/>
          </a:p>
          <a:p>
            <a:pPr lvl="1"/>
            <a:endParaRPr lang="en-US" dirty="0"/>
          </a:p>
          <a:p>
            <a:pPr marL="0" indent="0">
              <a:buNone/>
            </a:pPr>
            <a:endParaRPr lang="en-US" dirty="0"/>
          </a:p>
        </p:txBody>
      </p:sp>
      <p:pic>
        <p:nvPicPr>
          <p:cNvPr id="3" name="Picture 2">
            <a:extLst>
              <a:ext uri="{FF2B5EF4-FFF2-40B4-BE49-F238E27FC236}">
                <a16:creationId xmlns:a16="http://schemas.microsoft.com/office/drawing/2014/main" id="{A7E34D6A-5C8C-4727-ABED-63082E4ECEB1}"/>
              </a:ext>
            </a:extLst>
          </p:cNvPr>
          <p:cNvPicPr>
            <a:picLocks noChangeAspect="1"/>
          </p:cNvPicPr>
          <p:nvPr/>
        </p:nvPicPr>
        <p:blipFill>
          <a:blip r:embed="rId4"/>
          <a:stretch>
            <a:fillRect/>
          </a:stretch>
        </p:blipFill>
        <p:spPr>
          <a:xfrm>
            <a:off x="6290651" y="1962284"/>
            <a:ext cx="1799967" cy="256455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3525106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C5C7169-962D-4D37-BB44-D626B13925A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7C5C7169-962D-4D37-BB44-D626B13925A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Slide Number Placeholder 1"/>
          <p:cNvSpPr>
            <a:spLocks noGrp="1"/>
          </p:cNvSpPr>
          <p:nvPr>
            <p:ph type="sldNum" sz="quarter" idx="4"/>
          </p:nvPr>
        </p:nvSpPr>
        <p:spPr/>
        <p:txBody>
          <a:bodyPr/>
          <a:lstStyle/>
          <a:p>
            <a:fld id="{D8D877B3-D348-4611-9BDB-C5374591D951}" type="slidenum">
              <a:rPr lang="en-US" smtClean="0"/>
              <a:pPr/>
              <a:t>34</a:t>
            </a:fld>
            <a:endParaRPr lang="en-US"/>
          </a:p>
        </p:txBody>
      </p:sp>
      <p:pic>
        <p:nvPicPr>
          <p:cNvPr id="22" name="Picture 21">
            <a:extLst>
              <a:ext uri="{FF2B5EF4-FFF2-40B4-BE49-F238E27FC236}">
                <a16:creationId xmlns:a16="http://schemas.microsoft.com/office/drawing/2014/main" id="{1EFC6303-966D-4FF4-A683-E3583B2F8AFC}"/>
              </a:ext>
            </a:extLst>
          </p:cNvPr>
          <p:cNvPicPr>
            <a:picLocks noChangeAspect="1"/>
          </p:cNvPicPr>
          <p:nvPr/>
        </p:nvPicPr>
        <p:blipFill rotWithShape="1">
          <a:blip r:embed="rId6"/>
          <a:srcRect r="33572"/>
          <a:stretch/>
        </p:blipFill>
        <p:spPr>
          <a:xfrm>
            <a:off x="362251" y="1488418"/>
            <a:ext cx="3681317" cy="3050366"/>
          </a:xfrm>
          <a:prstGeom prst="rect">
            <a:avLst/>
          </a:prstGeom>
        </p:spPr>
      </p:pic>
      <p:sp>
        <p:nvSpPr>
          <p:cNvPr id="24" name="Rectangle: Rounded Corners 23">
            <a:extLst>
              <a:ext uri="{FF2B5EF4-FFF2-40B4-BE49-F238E27FC236}">
                <a16:creationId xmlns:a16="http://schemas.microsoft.com/office/drawing/2014/main" id="{558E553F-366C-4056-BA47-95ECE05443B6}"/>
              </a:ext>
            </a:extLst>
          </p:cNvPr>
          <p:cNvSpPr/>
          <p:nvPr/>
        </p:nvSpPr>
        <p:spPr>
          <a:xfrm>
            <a:off x="4067796" y="2862536"/>
            <a:ext cx="551726" cy="30212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25" err="1">
                <a:solidFill>
                  <a:schemeClr val="bg1"/>
                </a:solidFill>
              </a:rPr>
              <a:t>sEE</a:t>
            </a:r>
            <a:r>
              <a:rPr lang="en-GB" sz="825">
                <a:solidFill>
                  <a:schemeClr val="bg1"/>
                </a:solidFill>
              </a:rPr>
              <a:t> 1.5 </a:t>
            </a:r>
          </a:p>
        </p:txBody>
      </p:sp>
      <p:sp>
        <p:nvSpPr>
          <p:cNvPr id="6" name="TextBox 5"/>
          <p:cNvSpPr txBox="1"/>
          <p:nvPr/>
        </p:nvSpPr>
        <p:spPr>
          <a:xfrm>
            <a:off x="254309" y="2735608"/>
            <a:ext cx="807848" cy="253916"/>
          </a:xfrm>
          <a:prstGeom prst="rect">
            <a:avLst/>
          </a:prstGeom>
          <a:noFill/>
        </p:spPr>
        <p:txBody>
          <a:bodyPr wrap="square" rtlCol="0">
            <a:spAutoFit/>
          </a:bodyPr>
          <a:lstStyle/>
          <a:p>
            <a:r>
              <a:rPr lang="en-US" sz="1050" b="1">
                <a:solidFill>
                  <a:schemeClr val="accent3"/>
                </a:solidFill>
              </a:rPr>
              <a:t>4 scenarios</a:t>
            </a:r>
            <a:endParaRPr lang="da-DK" sz="1050" b="1">
              <a:solidFill>
                <a:schemeClr val="accent3"/>
              </a:solidFill>
            </a:endParaRPr>
          </a:p>
        </p:txBody>
      </p:sp>
      <p:sp>
        <p:nvSpPr>
          <p:cNvPr id="25" name="TextBox 24"/>
          <p:cNvSpPr txBox="1"/>
          <p:nvPr/>
        </p:nvSpPr>
        <p:spPr>
          <a:xfrm>
            <a:off x="254309" y="3436654"/>
            <a:ext cx="807848" cy="253916"/>
          </a:xfrm>
          <a:prstGeom prst="rect">
            <a:avLst/>
          </a:prstGeom>
          <a:noFill/>
        </p:spPr>
        <p:txBody>
          <a:bodyPr wrap="square" rtlCol="0">
            <a:spAutoFit/>
          </a:bodyPr>
          <a:lstStyle/>
          <a:p>
            <a:r>
              <a:rPr lang="en-US" sz="1050" b="1">
                <a:solidFill>
                  <a:schemeClr val="accent3"/>
                </a:solidFill>
              </a:rPr>
              <a:t>4 scenarios</a:t>
            </a:r>
            <a:endParaRPr lang="da-DK" sz="1050" b="1">
              <a:solidFill>
                <a:schemeClr val="accent3"/>
              </a:solidFill>
            </a:endParaRPr>
          </a:p>
        </p:txBody>
      </p:sp>
      <p:sp>
        <p:nvSpPr>
          <p:cNvPr id="26" name="TextBox 25"/>
          <p:cNvSpPr txBox="1"/>
          <p:nvPr/>
        </p:nvSpPr>
        <p:spPr>
          <a:xfrm>
            <a:off x="242195" y="2041635"/>
            <a:ext cx="832076" cy="415498"/>
          </a:xfrm>
          <a:prstGeom prst="rect">
            <a:avLst/>
          </a:prstGeom>
          <a:noFill/>
        </p:spPr>
        <p:txBody>
          <a:bodyPr wrap="square" rtlCol="0">
            <a:spAutoFit/>
          </a:bodyPr>
          <a:lstStyle/>
          <a:p>
            <a:r>
              <a:rPr lang="en-US" sz="1050" b="1">
                <a:solidFill>
                  <a:schemeClr val="accent3"/>
                </a:solidFill>
              </a:rPr>
              <a:t>24 scenarios</a:t>
            </a:r>
            <a:endParaRPr lang="da-DK" sz="1050" b="1">
              <a:solidFill>
                <a:schemeClr val="accent3"/>
              </a:solidFill>
            </a:endParaRPr>
          </a:p>
        </p:txBody>
      </p:sp>
      <p:pic>
        <p:nvPicPr>
          <p:cNvPr id="27" name="Picture 2" descr="Logo">
            <a:extLst>
              <a:ext uri="{FF2B5EF4-FFF2-40B4-BE49-F238E27FC236}">
                <a16:creationId xmlns:a16="http://schemas.microsoft.com/office/drawing/2014/main" id="{88C897B8-1BDA-4584-B830-447D576CC2C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5636" y="918978"/>
            <a:ext cx="1827790" cy="548886"/>
          </a:xfrm>
          <a:prstGeom prst="rect">
            <a:avLst/>
          </a:prstGeom>
          <a:noFill/>
          <a:extLst>
            <a:ext uri="{909E8E84-426E-40DD-AFC4-6F175D3DCCD1}">
              <a14:hiddenFill xmlns:a14="http://schemas.microsoft.com/office/drawing/2010/main">
                <a:solidFill>
                  <a:srgbClr val="FFFFFF"/>
                </a:solidFill>
              </a14:hiddenFill>
            </a:ext>
          </a:extLst>
        </p:spPr>
      </p:pic>
      <p:pic>
        <p:nvPicPr>
          <p:cNvPr id="28" name="Billede 27">
            <a:extLst>
              <a:ext uri="{FF2B5EF4-FFF2-40B4-BE49-F238E27FC236}">
                <a16:creationId xmlns:a16="http://schemas.microsoft.com/office/drawing/2014/main" id="{E6882FD8-6C63-44CC-A498-70891C77C903}"/>
              </a:ext>
            </a:extLst>
          </p:cNvPr>
          <p:cNvPicPr>
            <a:picLocks noChangeAspect="1"/>
          </p:cNvPicPr>
          <p:nvPr/>
        </p:nvPicPr>
        <p:blipFill>
          <a:blip r:embed="rId8"/>
          <a:stretch>
            <a:fillRect/>
          </a:stretch>
        </p:blipFill>
        <p:spPr>
          <a:xfrm>
            <a:off x="4894721" y="1614697"/>
            <a:ext cx="3887028" cy="2203359"/>
          </a:xfrm>
          <a:prstGeom prst="rect">
            <a:avLst/>
          </a:prstGeom>
        </p:spPr>
      </p:pic>
    </p:spTree>
    <p:extLst>
      <p:ext uri="{BB962C8B-B14F-4D97-AF65-F5344CB8AC3E}">
        <p14:creationId xmlns:p14="http://schemas.microsoft.com/office/powerpoint/2010/main" val="15782470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F5FADA9-61EF-409E-91C7-12EC288EF41C}"/>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7F5FADA9-61EF-409E-91C7-12EC288EF41C}"/>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Slide Number Placeholder 1"/>
          <p:cNvSpPr>
            <a:spLocks noGrp="1"/>
          </p:cNvSpPr>
          <p:nvPr>
            <p:ph type="sldNum" sz="quarter" idx="4"/>
          </p:nvPr>
        </p:nvSpPr>
        <p:spPr/>
        <p:txBody>
          <a:bodyPr/>
          <a:lstStyle/>
          <a:p>
            <a:fld id="{D8D877B3-D348-4611-9BDB-C5374591D951}" type="slidenum">
              <a:rPr lang="en-US" smtClean="0"/>
              <a:pPr/>
              <a:t>35</a:t>
            </a:fld>
            <a:endParaRPr lang="en-US" dirty="0"/>
          </a:p>
        </p:txBody>
      </p:sp>
      <p:sp>
        <p:nvSpPr>
          <p:cNvPr id="3" name="Title 2"/>
          <p:cNvSpPr>
            <a:spLocks noGrp="1"/>
          </p:cNvSpPr>
          <p:nvPr>
            <p:ph type="title"/>
          </p:nvPr>
        </p:nvSpPr>
        <p:spPr>
          <a:xfrm>
            <a:off x="312592" y="629839"/>
            <a:ext cx="8390894" cy="1105789"/>
          </a:xfrm>
        </p:spPr>
        <p:txBody>
          <a:bodyPr vert="horz">
            <a:normAutofit/>
          </a:bodyPr>
          <a:lstStyle/>
          <a:p>
            <a:r>
              <a:rPr lang="en-US" dirty="0"/>
              <a:t>EUs </a:t>
            </a:r>
            <a:r>
              <a:rPr lang="en-US" dirty="0" err="1"/>
              <a:t>primær</a:t>
            </a:r>
            <a:r>
              <a:rPr lang="en-US" dirty="0"/>
              <a:t> </a:t>
            </a:r>
            <a:r>
              <a:rPr lang="en-US" dirty="0" err="1"/>
              <a:t>energiforsyning</a:t>
            </a:r>
            <a:endParaRPr lang="da-DK" dirty="0"/>
          </a:p>
        </p:txBody>
      </p:sp>
      <p:sp>
        <p:nvSpPr>
          <p:cNvPr id="56" name="TextBox 55"/>
          <p:cNvSpPr txBox="1"/>
          <p:nvPr/>
        </p:nvSpPr>
        <p:spPr>
          <a:xfrm>
            <a:off x="440529" y="1697065"/>
            <a:ext cx="3285310" cy="1495218"/>
          </a:xfrm>
          <a:prstGeom prst="rect">
            <a:avLst/>
          </a:prstGeom>
          <a:noFill/>
        </p:spPr>
        <p:txBody>
          <a:bodyPr wrap="square" rtlCol="0">
            <a:spAutoFit/>
          </a:bodyPr>
          <a:lstStyle/>
          <a:p>
            <a:pPr marL="214313" indent="-214313">
              <a:buFont typeface="Wingdings" panose="05000000000000000000" pitchFamily="2" charset="2"/>
              <a:buChar char="v"/>
            </a:pPr>
            <a:r>
              <a:rPr lang="en-US" sz="1013" dirty="0"/>
              <a:t>Man </a:t>
            </a:r>
            <a:r>
              <a:rPr lang="en-US" sz="1013" dirty="0" err="1"/>
              <a:t>kan</a:t>
            </a:r>
            <a:r>
              <a:rPr lang="en-US" sz="1013" dirty="0"/>
              <a:t> </a:t>
            </a:r>
            <a:r>
              <a:rPr lang="en-US" sz="1013" dirty="0" err="1"/>
              <a:t>møde</a:t>
            </a:r>
            <a:r>
              <a:rPr lang="en-US" sz="1013" dirty="0"/>
              <a:t> </a:t>
            </a:r>
            <a:r>
              <a:rPr lang="en-US" sz="1013" dirty="0" err="1"/>
              <a:t>Parisaftalen</a:t>
            </a:r>
            <a:r>
              <a:rPr lang="en-US" sz="1013" dirty="0"/>
              <a:t> </a:t>
            </a:r>
            <a:r>
              <a:rPr lang="en-US" sz="1013" dirty="0" err="1"/>
              <a:t>på</a:t>
            </a:r>
            <a:r>
              <a:rPr lang="en-US" sz="1013" dirty="0"/>
              <a:t> </a:t>
            </a:r>
            <a:r>
              <a:rPr lang="en-US" sz="1013" dirty="0" err="1"/>
              <a:t>flere</a:t>
            </a:r>
            <a:r>
              <a:rPr lang="en-US" sz="1013" dirty="0"/>
              <a:t> </a:t>
            </a:r>
            <a:r>
              <a:rPr lang="en-US" sz="1013" dirty="0" err="1"/>
              <a:t>måder</a:t>
            </a:r>
            <a:r>
              <a:rPr lang="en-US" sz="1013" dirty="0"/>
              <a:t>…</a:t>
            </a:r>
          </a:p>
          <a:p>
            <a:endParaRPr lang="en-US" sz="1013" dirty="0"/>
          </a:p>
          <a:p>
            <a:pPr marL="214313" indent="-214313">
              <a:buFont typeface="Wingdings" panose="05000000000000000000" pitchFamily="2" charset="2"/>
              <a:buChar char="v"/>
            </a:pPr>
            <a:r>
              <a:rPr lang="en-US" sz="1013" dirty="0"/>
              <a:t>“sEE1.5” er mere </a:t>
            </a:r>
            <a:r>
              <a:rPr lang="en-US" sz="1013" dirty="0" err="1"/>
              <a:t>effektiv</a:t>
            </a:r>
            <a:r>
              <a:rPr lang="en-US" sz="1013" dirty="0"/>
              <a:t> end “1.5TECH”</a:t>
            </a:r>
          </a:p>
          <a:p>
            <a:pPr marL="214313" indent="-214313">
              <a:buFont typeface="Wingdings" panose="05000000000000000000" pitchFamily="2" charset="2"/>
              <a:buChar char="v"/>
            </a:pPr>
            <a:endParaRPr lang="en-US" sz="1013" dirty="0"/>
          </a:p>
          <a:p>
            <a:pPr marL="214313" indent="-214313">
              <a:buFont typeface="Wingdings" panose="05000000000000000000" pitchFamily="2" charset="2"/>
              <a:buChar char="v"/>
            </a:pPr>
            <a:r>
              <a:rPr lang="en-US" sz="1013" dirty="0"/>
              <a:t>Vi </a:t>
            </a:r>
            <a:r>
              <a:rPr lang="en-US" sz="1013" dirty="0" err="1"/>
              <a:t>bliver</a:t>
            </a:r>
            <a:r>
              <a:rPr lang="en-US" sz="1013" dirty="0"/>
              <a:t> </a:t>
            </a:r>
            <a:r>
              <a:rPr lang="en-US" sz="1013" dirty="0" err="1"/>
              <a:t>ved</a:t>
            </a:r>
            <a:r>
              <a:rPr lang="en-US" sz="1013" dirty="0"/>
              <a:t> et </a:t>
            </a:r>
            <a:r>
              <a:rPr lang="en-US" sz="1013" dirty="0" err="1"/>
              <a:t>nivau</a:t>
            </a:r>
            <a:r>
              <a:rPr lang="en-US" sz="1013" dirty="0"/>
              <a:t> </a:t>
            </a:r>
            <a:r>
              <a:rPr lang="en-US" sz="1013" dirty="0" err="1"/>
              <a:t>af</a:t>
            </a:r>
            <a:r>
              <a:rPr lang="en-US" sz="1013" dirty="0"/>
              <a:t> </a:t>
            </a:r>
            <a:r>
              <a:rPr lang="en-US" sz="1013" dirty="0" err="1"/>
              <a:t>bæredygtig</a:t>
            </a:r>
            <a:r>
              <a:rPr lang="en-US" sz="1013" dirty="0"/>
              <a:t> </a:t>
            </a:r>
            <a:r>
              <a:rPr lang="en-US" sz="1013" dirty="0" err="1"/>
              <a:t>biomasseanvendelse</a:t>
            </a:r>
            <a:r>
              <a:rPr lang="en-US" sz="1013" dirty="0"/>
              <a:t> i </a:t>
            </a:r>
            <a:r>
              <a:rPr lang="en-US" sz="1013" dirty="0" err="1"/>
              <a:t>tråd</a:t>
            </a:r>
            <a:r>
              <a:rPr lang="en-US" sz="1013" dirty="0"/>
              <a:t> med JRC ENSPRESO (2019) </a:t>
            </a:r>
          </a:p>
          <a:p>
            <a:pPr lvl="1"/>
            <a:r>
              <a:rPr lang="da-DK" sz="1013" dirty="0"/>
              <a:t>≈ </a:t>
            </a:r>
            <a:r>
              <a:rPr lang="en-US" sz="1013" dirty="0"/>
              <a:t>3200 </a:t>
            </a:r>
            <a:r>
              <a:rPr lang="en-US" sz="1013" dirty="0" err="1"/>
              <a:t>TWh</a:t>
            </a:r>
            <a:endParaRPr lang="en-US" sz="1013" dirty="0"/>
          </a:p>
          <a:p>
            <a:pPr marL="214313" indent="-214313">
              <a:buFont typeface="Wingdings" panose="05000000000000000000" pitchFamily="2" charset="2"/>
              <a:buChar char="v"/>
            </a:pPr>
            <a:endParaRPr lang="en-US" sz="1013" dirty="0"/>
          </a:p>
          <a:p>
            <a:pPr marL="214313" indent="-214313">
              <a:buFont typeface="Wingdings" panose="05000000000000000000" pitchFamily="2" charset="2"/>
              <a:buChar char="v"/>
            </a:pPr>
            <a:endParaRPr lang="en-US" sz="1013" dirty="0"/>
          </a:p>
        </p:txBody>
      </p:sp>
      <p:pic>
        <p:nvPicPr>
          <p:cNvPr id="5" name="Picture 4">
            <a:extLst>
              <a:ext uri="{FF2B5EF4-FFF2-40B4-BE49-F238E27FC236}">
                <a16:creationId xmlns:a16="http://schemas.microsoft.com/office/drawing/2014/main" id="{D726206A-DA53-40A0-9E78-5ED839DF1BD0}"/>
              </a:ext>
            </a:extLst>
          </p:cNvPr>
          <p:cNvPicPr>
            <a:picLocks noChangeAspect="1"/>
          </p:cNvPicPr>
          <p:nvPr/>
        </p:nvPicPr>
        <p:blipFill>
          <a:blip r:embed="rId6"/>
          <a:stretch>
            <a:fillRect/>
          </a:stretch>
        </p:blipFill>
        <p:spPr>
          <a:xfrm>
            <a:off x="4508039" y="1298362"/>
            <a:ext cx="4211177" cy="2761727"/>
          </a:xfrm>
          <a:prstGeom prst="rect">
            <a:avLst/>
          </a:prstGeom>
        </p:spPr>
      </p:pic>
      <p:pic>
        <p:nvPicPr>
          <p:cNvPr id="7" name="Billede 6">
            <a:extLst>
              <a:ext uri="{FF2B5EF4-FFF2-40B4-BE49-F238E27FC236}">
                <a16:creationId xmlns:a16="http://schemas.microsoft.com/office/drawing/2014/main" id="{21B285C7-3FBF-44AB-88F2-E9FE3B0135E4}"/>
              </a:ext>
            </a:extLst>
          </p:cNvPr>
          <p:cNvPicPr>
            <a:picLocks noChangeAspect="1"/>
          </p:cNvPicPr>
          <p:nvPr/>
        </p:nvPicPr>
        <p:blipFill>
          <a:blip r:embed="rId7"/>
          <a:stretch>
            <a:fillRect/>
          </a:stretch>
        </p:blipFill>
        <p:spPr>
          <a:xfrm>
            <a:off x="2083184" y="2850252"/>
            <a:ext cx="1957292" cy="2038712"/>
          </a:xfrm>
          <a:prstGeom prst="rect">
            <a:avLst/>
          </a:prstGeom>
        </p:spPr>
      </p:pic>
      <p:pic>
        <p:nvPicPr>
          <p:cNvPr id="8" name="Picture 2" descr="Logo">
            <a:extLst>
              <a:ext uri="{FF2B5EF4-FFF2-40B4-BE49-F238E27FC236}">
                <a16:creationId xmlns:a16="http://schemas.microsoft.com/office/drawing/2014/main" id="{21980A59-4DEF-4F47-80CC-FDE8FBEA8A4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218670" y="4414712"/>
            <a:ext cx="1827790" cy="5488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96404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165C532-2A41-4D76-9DF2-D2192FA1617C}"/>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4165C532-2A41-4D76-9DF2-D2192FA1617C}"/>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Slide Number Placeholder 1"/>
          <p:cNvSpPr>
            <a:spLocks noGrp="1"/>
          </p:cNvSpPr>
          <p:nvPr>
            <p:ph type="sldNum" sz="quarter" idx="4"/>
          </p:nvPr>
        </p:nvSpPr>
        <p:spPr/>
        <p:txBody>
          <a:bodyPr/>
          <a:lstStyle/>
          <a:p>
            <a:fld id="{D8D877B3-D348-4611-9BDB-C5374591D951}" type="slidenum">
              <a:rPr lang="en-US" smtClean="0"/>
              <a:pPr/>
              <a:t>36</a:t>
            </a:fld>
            <a:endParaRPr lang="en-US" dirty="0"/>
          </a:p>
        </p:txBody>
      </p:sp>
      <p:sp>
        <p:nvSpPr>
          <p:cNvPr id="3" name="Title 2"/>
          <p:cNvSpPr>
            <a:spLocks noGrp="1"/>
          </p:cNvSpPr>
          <p:nvPr>
            <p:ph type="title"/>
          </p:nvPr>
        </p:nvSpPr>
        <p:spPr>
          <a:xfrm>
            <a:off x="324559" y="884249"/>
            <a:ext cx="7096271" cy="1105789"/>
          </a:xfrm>
        </p:spPr>
        <p:txBody>
          <a:bodyPr vert="horz"/>
          <a:lstStyle/>
          <a:p>
            <a:r>
              <a:rPr lang="da-DK" dirty="0" err="1"/>
              <a:t>Annuiserede</a:t>
            </a:r>
            <a:r>
              <a:rPr lang="da-DK" dirty="0"/>
              <a:t> omkostninger</a:t>
            </a:r>
          </a:p>
        </p:txBody>
      </p:sp>
      <p:pic>
        <p:nvPicPr>
          <p:cNvPr id="9" name="Picture 8">
            <a:extLst>
              <a:ext uri="{FF2B5EF4-FFF2-40B4-BE49-F238E27FC236}">
                <a16:creationId xmlns:a16="http://schemas.microsoft.com/office/drawing/2014/main" id="{78B6A886-109C-4277-99F3-95CEA47CE667}"/>
              </a:ext>
            </a:extLst>
          </p:cNvPr>
          <p:cNvPicPr>
            <a:picLocks noChangeAspect="1"/>
          </p:cNvPicPr>
          <p:nvPr/>
        </p:nvPicPr>
        <p:blipFill>
          <a:blip r:embed="rId6"/>
          <a:stretch>
            <a:fillRect/>
          </a:stretch>
        </p:blipFill>
        <p:spPr>
          <a:xfrm>
            <a:off x="4081347" y="958736"/>
            <a:ext cx="3899324" cy="3455976"/>
          </a:xfrm>
          <a:prstGeom prst="rect">
            <a:avLst/>
          </a:prstGeom>
        </p:spPr>
      </p:pic>
      <p:pic>
        <p:nvPicPr>
          <p:cNvPr id="7" name="Picture 2" descr="Logo">
            <a:extLst>
              <a:ext uri="{FF2B5EF4-FFF2-40B4-BE49-F238E27FC236}">
                <a16:creationId xmlns:a16="http://schemas.microsoft.com/office/drawing/2014/main" id="{B4EA19C9-45C1-4C7F-8F7E-E15F1625457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18670" y="4414712"/>
            <a:ext cx="1827790" cy="5488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24851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22ED1EF-738E-438B-80FE-D5C2C34A0137}"/>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B22ED1EF-738E-438B-80FE-D5C2C34A0137}"/>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Slide Number Placeholder 1"/>
          <p:cNvSpPr>
            <a:spLocks noGrp="1"/>
          </p:cNvSpPr>
          <p:nvPr>
            <p:ph type="sldNum" sz="quarter" idx="4"/>
          </p:nvPr>
        </p:nvSpPr>
        <p:spPr/>
        <p:txBody>
          <a:bodyPr/>
          <a:lstStyle/>
          <a:p>
            <a:fld id="{D8D877B3-D348-4611-9BDB-C5374591D951}" type="slidenum">
              <a:rPr lang="en-US" smtClean="0"/>
              <a:pPr/>
              <a:t>37</a:t>
            </a:fld>
            <a:endParaRPr lang="en-US" dirty="0"/>
          </a:p>
        </p:txBody>
      </p:sp>
      <p:sp>
        <p:nvSpPr>
          <p:cNvPr id="3" name="Title 2"/>
          <p:cNvSpPr>
            <a:spLocks noGrp="1"/>
          </p:cNvSpPr>
          <p:nvPr>
            <p:ph type="title"/>
          </p:nvPr>
        </p:nvSpPr>
        <p:spPr>
          <a:xfrm>
            <a:off x="440531" y="277718"/>
            <a:ext cx="6893331" cy="1105789"/>
          </a:xfrm>
        </p:spPr>
        <p:txBody>
          <a:bodyPr vert="horz"/>
          <a:lstStyle/>
          <a:p>
            <a:r>
              <a:rPr lang="da-DK" dirty="0"/>
              <a:t>Heat </a:t>
            </a:r>
            <a:r>
              <a:rPr lang="da-DK" dirty="0" err="1"/>
              <a:t>supply</a:t>
            </a:r>
            <a:r>
              <a:rPr lang="da-DK" dirty="0"/>
              <a:t> in </a:t>
            </a:r>
            <a:r>
              <a:rPr lang="da-DK" dirty="0" err="1"/>
              <a:t>different</a:t>
            </a:r>
            <a:r>
              <a:rPr lang="da-DK" dirty="0"/>
              <a:t> </a:t>
            </a:r>
            <a:r>
              <a:rPr lang="da-DK" dirty="0" err="1"/>
              <a:t>countries</a:t>
            </a:r>
            <a:endParaRPr lang="da-DK" dirty="0"/>
          </a:p>
        </p:txBody>
      </p:sp>
      <p:sp>
        <p:nvSpPr>
          <p:cNvPr id="8" name="TextBox 7"/>
          <p:cNvSpPr txBox="1"/>
          <p:nvPr/>
        </p:nvSpPr>
        <p:spPr>
          <a:xfrm>
            <a:off x="4069163" y="1814913"/>
            <a:ext cx="2337318" cy="248209"/>
          </a:xfrm>
          <a:prstGeom prst="rect">
            <a:avLst/>
          </a:prstGeom>
          <a:solidFill>
            <a:schemeClr val="bg1">
              <a:lumMod val="95000"/>
            </a:schemeClr>
          </a:solidFill>
          <a:ln>
            <a:noFill/>
          </a:ln>
        </p:spPr>
        <p:txBody>
          <a:bodyPr wrap="square" rtlCol="0">
            <a:spAutoFit/>
          </a:bodyPr>
          <a:lstStyle/>
          <a:p>
            <a:r>
              <a:rPr lang="en-US" sz="1013" dirty="0"/>
              <a:t>EU: 50% district heat supply</a:t>
            </a:r>
            <a:endParaRPr lang="da-DK" sz="1013" dirty="0"/>
          </a:p>
        </p:txBody>
      </p:sp>
      <p:pic>
        <p:nvPicPr>
          <p:cNvPr id="7" name="Picture 6">
            <a:extLst>
              <a:ext uri="{FF2B5EF4-FFF2-40B4-BE49-F238E27FC236}">
                <a16:creationId xmlns:a16="http://schemas.microsoft.com/office/drawing/2014/main" id="{E9F09C47-DD9C-42F2-9B6A-E79D3A209086}"/>
              </a:ext>
            </a:extLst>
          </p:cNvPr>
          <p:cNvPicPr>
            <a:picLocks noChangeAspect="1"/>
          </p:cNvPicPr>
          <p:nvPr/>
        </p:nvPicPr>
        <p:blipFill>
          <a:blip r:embed="rId6"/>
          <a:stretch>
            <a:fillRect/>
          </a:stretch>
        </p:blipFill>
        <p:spPr>
          <a:xfrm>
            <a:off x="287717" y="1676413"/>
            <a:ext cx="8431499" cy="2578832"/>
          </a:xfrm>
          <a:prstGeom prst="rect">
            <a:avLst/>
          </a:prstGeom>
        </p:spPr>
      </p:pic>
    </p:spTree>
    <p:extLst>
      <p:ext uri="{BB962C8B-B14F-4D97-AF65-F5344CB8AC3E}">
        <p14:creationId xmlns:p14="http://schemas.microsoft.com/office/powerpoint/2010/main" val="31966249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B38E682-56C5-4630-8020-33A09ED2145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8B38E682-56C5-4630-8020-33A09ED2145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Slide Number Placeholder 1"/>
          <p:cNvSpPr>
            <a:spLocks noGrp="1"/>
          </p:cNvSpPr>
          <p:nvPr>
            <p:ph type="sldNum" sz="quarter" idx="4"/>
          </p:nvPr>
        </p:nvSpPr>
        <p:spPr/>
        <p:txBody>
          <a:bodyPr/>
          <a:lstStyle/>
          <a:p>
            <a:fld id="{D8D877B3-D348-4611-9BDB-C5374591D951}" type="slidenum">
              <a:rPr lang="en-US" smtClean="0"/>
              <a:pPr/>
              <a:t>38</a:t>
            </a:fld>
            <a:endParaRPr lang="en-US" dirty="0"/>
          </a:p>
        </p:txBody>
      </p:sp>
      <p:sp>
        <p:nvSpPr>
          <p:cNvPr id="3" name="Title 2"/>
          <p:cNvSpPr>
            <a:spLocks noGrp="1"/>
          </p:cNvSpPr>
          <p:nvPr>
            <p:ph type="title"/>
          </p:nvPr>
        </p:nvSpPr>
        <p:spPr>
          <a:xfrm>
            <a:off x="271032" y="830612"/>
            <a:ext cx="6802358" cy="1105789"/>
          </a:xfrm>
        </p:spPr>
        <p:txBody>
          <a:bodyPr vert="horz"/>
          <a:lstStyle/>
          <a:p>
            <a:r>
              <a:rPr lang="da-DK" dirty="0"/>
              <a:t>Elproduktion i EU i 2050?</a:t>
            </a:r>
          </a:p>
        </p:txBody>
      </p:sp>
      <p:pic>
        <p:nvPicPr>
          <p:cNvPr id="5" name="Picture 4"/>
          <p:cNvPicPr>
            <a:picLocks noChangeAspect="1"/>
          </p:cNvPicPr>
          <p:nvPr/>
        </p:nvPicPr>
        <p:blipFill>
          <a:blip r:embed="rId5"/>
          <a:stretch>
            <a:fillRect/>
          </a:stretch>
        </p:blipFill>
        <p:spPr>
          <a:xfrm>
            <a:off x="3602493" y="1258527"/>
            <a:ext cx="4792146" cy="3460706"/>
          </a:xfrm>
          <a:prstGeom prst="rect">
            <a:avLst/>
          </a:prstGeom>
        </p:spPr>
      </p:pic>
    </p:spTree>
    <p:extLst>
      <p:ext uri="{BB962C8B-B14F-4D97-AF65-F5344CB8AC3E}">
        <p14:creationId xmlns:p14="http://schemas.microsoft.com/office/powerpoint/2010/main" val="41637370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LinkedIn, Twitter Integrations | Integroma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65861" y="3971638"/>
            <a:ext cx="1331986" cy="695055"/>
          </a:xfrm>
          <a:prstGeom prst="rect">
            <a:avLst/>
          </a:prstGeom>
          <a:noFill/>
          <a:extLst>
            <a:ext uri="{909E8E84-426E-40DD-AFC4-6F175D3DCCD1}">
              <a14:hiddenFill xmlns:a14="http://schemas.microsoft.com/office/drawing/2010/main">
                <a:solidFill>
                  <a:srgbClr val="FFFFFF"/>
                </a:solidFill>
              </a14:hiddenFill>
            </a:ext>
          </a:extLst>
        </p:spPr>
      </p:pic>
      <p:sp>
        <p:nvSpPr>
          <p:cNvPr id="7" name="Titel 6"/>
          <p:cNvSpPr>
            <a:spLocks noGrp="1"/>
          </p:cNvSpPr>
          <p:nvPr>
            <p:ph type="title"/>
          </p:nvPr>
        </p:nvSpPr>
        <p:spPr>
          <a:xfrm>
            <a:off x="628650" y="970242"/>
            <a:ext cx="7886700" cy="510415"/>
          </a:xfrm>
        </p:spPr>
        <p:txBody>
          <a:bodyPr>
            <a:normAutofit fontScale="90000"/>
          </a:bodyPr>
          <a:lstStyle/>
          <a:p>
            <a:r>
              <a:rPr lang="en-US" dirty="0" err="1"/>
              <a:t>Tak</a:t>
            </a:r>
            <a:r>
              <a:rPr lang="en-US" dirty="0"/>
              <a:t> for </a:t>
            </a:r>
            <a:r>
              <a:rPr lang="en-US"/>
              <a:t>opmærksomheden</a:t>
            </a:r>
            <a:endParaRPr lang="en-US" dirty="0"/>
          </a:p>
        </p:txBody>
      </p:sp>
      <p:sp>
        <p:nvSpPr>
          <p:cNvPr id="8" name="Pladsholder til indhold 7"/>
          <p:cNvSpPr>
            <a:spLocks noGrp="1"/>
          </p:cNvSpPr>
          <p:nvPr>
            <p:ph idx="1"/>
          </p:nvPr>
        </p:nvSpPr>
        <p:spPr>
          <a:xfrm>
            <a:off x="3099845" y="4506742"/>
            <a:ext cx="2627855" cy="319902"/>
          </a:xfrm>
          <a:solidFill>
            <a:schemeClr val="bg1"/>
          </a:solidFill>
          <a:ln>
            <a:noFill/>
          </a:ln>
        </p:spPr>
        <p:txBody>
          <a:bodyPr>
            <a:normAutofit/>
          </a:bodyPr>
          <a:lstStyle/>
          <a:p>
            <a:pPr marL="0" indent="0">
              <a:buNone/>
            </a:pPr>
            <a:r>
              <a:rPr lang="da-DK" sz="1350" b="1" i="1" dirty="0" err="1">
                <a:latin typeface="+mn-lt"/>
                <a:ea typeface="+mn-ea"/>
                <a:cs typeface="+mn-cs"/>
              </a:rPr>
              <a:t>Follow</a:t>
            </a:r>
            <a:r>
              <a:rPr lang="da-DK" sz="1350" b="1" i="1" dirty="0">
                <a:latin typeface="+mn-lt"/>
                <a:ea typeface="+mn-ea"/>
                <a:cs typeface="+mn-cs"/>
              </a:rPr>
              <a:t> </a:t>
            </a:r>
            <a:r>
              <a:rPr lang="da-DK" sz="1350" b="1" i="1" dirty="0" err="1">
                <a:latin typeface="+mn-lt"/>
                <a:ea typeface="+mn-ea"/>
                <a:cs typeface="+mn-cs"/>
              </a:rPr>
              <a:t>us</a:t>
            </a:r>
            <a:r>
              <a:rPr lang="da-DK" sz="1350" b="1" i="1" dirty="0">
                <a:latin typeface="+mn-lt"/>
                <a:ea typeface="+mn-ea"/>
                <a:cs typeface="+mn-cs"/>
              </a:rPr>
              <a:t> on twitter and </a:t>
            </a:r>
            <a:r>
              <a:rPr lang="da-DK" sz="1350" b="1" i="1" dirty="0" err="1">
                <a:latin typeface="+mn-lt"/>
                <a:ea typeface="+mn-ea"/>
                <a:cs typeface="+mn-cs"/>
              </a:rPr>
              <a:t>LinkedIN</a:t>
            </a:r>
            <a:endParaRPr lang="da-DK" sz="1350" b="1" i="1" dirty="0">
              <a:latin typeface="+mn-lt"/>
              <a:ea typeface="+mn-ea"/>
              <a:cs typeface="+mn-cs"/>
            </a:endParaRPr>
          </a:p>
        </p:txBody>
      </p:sp>
      <p:pic>
        <p:nvPicPr>
          <p:cNvPr id="2" name="Billede 1"/>
          <p:cNvPicPr>
            <a:picLocks noChangeAspect="1"/>
          </p:cNvPicPr>
          <p:nvPr/>
        </p:nvPicPr>
        <p:blipFill>
          <a:blip r:embed="rId3"/>
          <a:stretch>
            <a:fillRect/>
          </a:stretch>
        </p:blipFill>
        <p:spPr>
          <a:xfrm>
            <a:off x="5727700" y="3092940"/>
            <a:ext cx="3246388" cy="1778843"/>
          </a:xfrm>
          <a:prstGeom prst="rect">
            <a:avLst/>
          </a:prstGeom>
        </p:spPr>
      </p:pic>
      <p:sp>
        <p:nvSpPr>
          <p:cNvPr id="6" name="TextBox 1"/>
          <p:cNvSpPr txBox="1"/>
          <p:nvPr/>
        </p:nvSpPr>
        <p:spPr>
          <a:xfrm>
            <a:off x="575524" y="2426475"/>
            <a:ext cx="7939826" cy="307777"/>
          </a:xfrm>
          <a:prstGeom prst="rect">
            <a:avLst/>
          </a:prstGeom>
          <a:noFill/>
        </p:spPr>
        <p:txBody>
          <a:bodyPr wrap="square" rtlCol="0">
            <a:spAutoFit/>
          </a:bodyPr>
          <a:lstStyle/>
          <a:p>
            <a:endParaRPr lang="da-DK" sz="1400" i="1" dirty="0"/>
          </a:p>
        </p:txBody>
      </p:sp>
      <p:sp>
        <p:nvSpPr>
          <p:cNvPr id="9" name="Rectangle 13"/>
          <p:cNvSpPr>
            <a:spLocks noChangeArrowheads="1"/>
          </p:cNvSpPr>
          <p:nvPr/>
        </p:nvSpPr>
        <p:spPr bwMode="auto">
          <a:xfrm>
            <a:off x="2374043" y="1811550"/>
            <a:ext cx="1791818" cy="251434"/>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a:lstStyle/>
          <a:p>
            <a:pPr algn="ctr">
              <a:spcBef>
                <a:spcPct val="20000"/>
              </a:spcBef>
            </a:pPr>
            <a:r>
              <a:rPr lang="da-DK" altLang="da-DK" sz="1100" b="1" dirty="0">
                <a:solidFill>
                  <a:schemeClr val="bg1"/>
                </a:solidFill>
                <a:latin typeface="TrueGillSansOneBold" pitchFamily="2" charset="0"/>
              </a:rPr>
              <a:t>www.EnergyPLAN.eu</a:t>
            </a:r>
          </a:p>
          <a:p>
            <a:pPr algn="ctr">
              <a:spcBef>
                <a:spcPct val="20000"/>
              </a:spcBef>
            </a:pPr>
            <a:endParaRPr lang="da-DK" altLang="da-DK" sz="1600" b="1" dirty="0">
              <a:solidFill>
                <a:schemeClr val="bg1"/>
              </a:solidFill>
              <a:latin typeface="TrueGillSansOneBold" pitchFamily="2" charset="0"/>
            </a:endParaRPr>
          </a:p>
          <a:p>
            <a:pPr algn="ctr">
              <a:spcBef>
                <a:spcPct val="20000"/>
              </a:spcBef>
            </a:pPr>
            <a:r>
              <a:rPr lang="da-DK" altLang="da-DK" sz="1600" b="1" dirty="0">
                <a:solidFill>
                  <a:schemeClr val="bg1"/>
                </a:solidFill>
                <a:latin typeface="TrueGillSansOneBold" pitchFamily="2" charset="0"/>
              </a:rPr>
              <a:t> </a:t>
            </a:r>
          </a:p>
          <a:p>
            <a:pPr algn="ctr">
              <a:spcBef>
                <a:spcPct val="20000"/>
              </a:spcBef>
            </a:pPr>
            <a:endParaRPr lang="da-DK" altLang="da-DK" sz="1600" b="1" dirty="0">
              <a:solidFill>
                <a:schemeClr val="bg1"/>
              </a:solidFill>
              <a:latin typeface="TrueGillSansOneBold" pitchFamily="2" charset="0"/>
            </a:endParaRPr>
          </a:p>
        </p:txBody>
      </p:sp>
      <p:sp>
        <p:nvSpPr>
          <p:cNvPr id="10" name="Rectangle 9"/>
          <p:cNvSpPr>
            <a:spLocks noChangeArrowheads="1"/>
          </p:cNvSpPr>
          <p:nvPr/>
        </p:nvSpPr>
        <p:spPr bwMode="auto">
          <a:xfrm>
            <a:off x="5327151" y="2093646"/>
            <a:ext cx="1646804" cy="248416"/>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a:lstStyle/>
          <a:p>
            <a:pPr algn="ctr">
              <a:spcBef>
                <a:spcPct val="20000"/>
              </a:spcBef>
            </a:pPr>
            <a:r>
              <a:rPr lang="en-GB" altLang="da-DK" sz="1100" b="1" dirty="0">
                <a:solidFill>
                  <a:schemeClr val="bg1"/>
                </a:solidFill>
                <a:latin typeface="TrueGillSansOneBold" pitchFamily="2" charset="0"/>
              </a:rPr>
              <a:t>www.4DH.eu</a:t>
            </a:r>
            <a:r>
              <a:rPr lang="da-DK" altLang="da-DK" sz="1100" b="1" dirty="0">
                <a:solidFill>
                  <a:schemeClr val="bg1"/>
                </a:solidFill>
                <a:latin typeface="TrueGillSansOneBold" pitchFamily="2" charset="0"/>
              </a:rPr>
              <a:t> </a:t>
            </a:r>
          </a:p>
          <a:p>
            <a:pPr algn="ctr">
              <a:spcBef>
                <a:spcPct val="20000"/>
              </a:spcBef>
            </a:pPr>
            <a:endParaRPr lang="da-DK" altLang="da-DK" sz="1100" b="1" dirty="0">
              <a:solidFill>
                <a:schemeClr val="bg1"/>
              </a:solidFill>
              <a:latin typeface="TrueGillSansOneBold" pitchFamily="2" charset="0"/>
            </a:endParaRPr>
          </a:p>
        </p:txBody>
      </p:sp>
      <p:sp>
        <p:nvSpPr>
          <p:cNvPr id="11" name="Rectangle 11"/>
          <p:cNvSpPr>
            <a:spLocks noChangeArrowheads="1"/>
          </p:cNvSpPr>
          <p:nvPr/>
        </p:nvSpPr>
        <p:spPr bwMode="auto">
          <a:xfrm>
            <a:off x="4202914" y="1811551"/>
            <a:ext cx="2996564" cy="251434"/>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a:lstStyle/>
          <a:p>
            <a:pPr algn="ctr">
              <a:spcBef>
                <a:spcPct val="20000"/>
              </a:spcBef>
            </a:pPr>
            <a:r>
              <a:rPr lang="da-DK" altLang="da-DK" sz="1100" b="1" dirty="0">
                <a:solidFill>
                  <a:schemeClr val="bg1"/>
                </a:solidFill>
                <a:latin typeface="TrueGillSansOneBold" pitchFamily="2" charset="0"/>
              </a:rPr>
              <a:t>www.energyplan.eu/smartenergysystems/</a:t>
            </a:r>
          </a:p>
          <a:p>
            <a:pPr algn="ctr">
              <a:spcBef>
                <a:spcPct val="20000"/>
              </a:spcBef>
            </a:pPr>
            <a:endParaRPr lang="da-DK" altLang="da-DK" sz="1100" b="1" dirty="0">
              <a:solidFill>
                <a:schemeClr val="bg1"/>
              </a:solidFill>
              <a:latin typeface="TrueGillSansOneBold" pitchFamily="2" charset="0"/>
            </a:endParaRPr>
          </a:p>
        </p:txBody>
      </p:sp>
      <p:sp>
        <p:nvSpPr>
          <p:cNvPr id="12" name="Rectangle 9"/>
          <p:cNvSpPr>
            <a:spLocks noChangeArrowheads="1"/>
          </p:cNvSpPr>
          <p:nvPr/>
        </p:nvSpPr>
        <p:spPr bwMode="auto">
          <a:xfrm>
            <a:off x="2374043" y="1531318"/>
            <a:ext cx="1424608" cy="244576"/>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a:lstStyle/>
          <a:p>
            <a:pPr algn="ctr">
              <a:spcBef>
                <a:spcPct val="20000"/>
              </a:spcBef>
            </a:pPr>
            <a:r>
              <a:rPr lang="da-DK" altLang="da-DK" sz="1100" b="1" dirty="0">
                <a:solidFill>
                  <a:schemeClr val="bg1"/>
                </a:solidFill>
                <a:latin typeface="TrueGillSansOneBold" pitchFamily="2" charset="0"/>
              </a:rPr>
              <a:t>www.brianvad.eu</a:t>
            </a:r>
          </a:p>
          <a:p>
            <a:pPr algn="ctr">
              <a:spcBef>
                <a:spcPct val="20000"/>
              </a:spcBef>
            </a:pPr>
            <a:r>
              <a:rPr lang="da-DK" altLang="da-DK" sz="1100" b="1" dirty="0">
                <a:solidFill>
                  <a:schemeClr val="bg1"/>
                </a:solidFill>
                <a:latin typeface="TrueGillSansOneBold" pitchFamily="2" charset="0"/>
              </a:rPr>
              <a:t> </a:t>
            </a:r>
          </a:p>
          <a:p>
            <a:pPr algn="ctr">
              <a:spcBef>
                <a:spcPct val="20000"/>
              </a:spcBef>
            </a:pPr>
            <a:endParaRPr lang="da-DK" altLang="da-DK" sz="1100" b="1" dirty="0">
              <a:solidFill>
                <a:schemeClr val="bg1"/>
              </a:solidFill>
              <a:latin typeface="TrueGillSansOneBold" pitchFamily="2" charset="0"/>
            </a:endParaRPr>
          </a:p>
        </p:txBody>
      </p:sp>
      <p:sp>
        <p:nvSpPr>
          <p:cNvPr id="13" name="Rectangle 11"/>
          <p:cNvSpPr>
            <a:spLocks noChangeArrowheads="1"/>
          </p:cNvSpPr>
          <p:nvPr/>
        </p:nvSpPr>
        <p:spPr bwMode="auto">
          <a:xfrm>
            <a:off x="6997146" y="2093645"/>
            <a:ext cx="1889260" cy="248416"/>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a:lstStyle/>
          <a:p>
            <a:pPr algn="ctr">
              <a:spcBef>
                <a:spcPct val="20000"/>
              </a:spcBef>
            </a:pPr>
            <a:r>
              <a:rPr lang="da-DK" altLang="da-DK" sz="1100" b="1" dirty="0">
                <a:solidFill>
                  <a:schemeClr val="bg1"/>
                </a:solidFill>
                <a:latin typeface="TrueGillSansOneBold" pitchFamily="2" charset="0"/>
              </a:rPr>
              <a:t>www.energyplan.eu/solar</a:t>
            </a:r>
          </a:p>
          <a:p>
            <a:pPr algn="ctr">
              <a:spcBef>
                <a:spcPct val="20000"/>
              </a:spcBef>
            </a:pPr>
            <a:endParaRPr lang="da-DK" altLang="da-DK" sz="1100" b="1" dirty="0">
              <a:solidFill>
                <a:schemeClr val="bg1"/>
              </a:solidFill>
              <a:latin typeface="TrueGillSansOneBold" pitchFamily="2" charset="0"/>
            </a:endParaRPr>
          </a:p>
          <a:p>
            <a:pPr algn="ctr">
              <a:spcBef>
                <a:spcPct val="20000"/>
              </a:spcBef>
            </a:pPr>
            <a:endParaRPr lang="da-DK" altLang="da-DK" sz="1100" b="1" dirty="0">
              <a:solidFill>
                <a:schemeClr val="bg1"/>
              </a:solidFill>
              <a:latin typeface="TrueGillSansOneBold" pitchFamily="2" charset="0"/>
            </a:endParaRPr>
          </a:p>
        </p:txBody>
      </p:sp>
      <p:sp>
        <p:nvSpPr>
          <p:cNvPr id="15" name="Rectangle 9"/>
          <p:cNvSpPr>
            <a:spLocks noChangeArrowheads="1"/>
          </p:cNvSpPr>
          <p:nvPr/>
        </p:nvSpPr>
        <p:spPr bwMode="auto">
          <a:xfrm>
            <a:off x="7227487" y="1807358"/>
            <a:ext cx="1658920" cy="255626"/>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a:lstStyle/>
          <a:p>
            <a:pPr algn="ctr">
              <a:spcBef>
                <a:spcPct val="20000"/>
              </a:spcBef>
            </a:pPr>
            <a:r>
              <a:rPr lang="en-GB" altLang="da-DK" sz="1100" b="1" dirty="0">
                <a:solidFill>
                  <a:schemeClr val="bg1"/>
                </a:solidFill>
                <a:latin typeface="TrueGillSansOneBold" pitchFamily="2" charset="0"/>
              </a:rPr>
              <a:t>www.heatroadmap.eu</a:t>
            </a:r>
            <a:r>
              <a:rPr lang="da-DK" altLang="da-DK" sz="1100" b="1" dirty="0">
                <a:solidFill>
                  <a:schemeClr val="bg1"/>
                </a:solidFill>
                <a:latin typeface="TrueGillSansOneBold" pitchFamily="2" charset="0"/>
              </a:rPr>
              <a:t> </a:t>
            </a:r>
          </a:p>
          <a:p>
            <a:pPr algn="ctr">
              <a:spcBef>
                <a:spcPct val="20000"/>
              </a:spcBef>
            </a:pPr>
            <a:endParaRPr lang="da-DK" altLang="da-DK" sz="1100" b="1" dirty="0">
              <a:solidFill>
                <a:schemeClr val="bg1"/>
              </a:solidFill>
              <a:latin typeface="TrueGillSansOneBold" pitchFamily="2" charset="0"/>
            </a:endParaRPr>
          </a:p>
        </p:txBody>
      </p:sp>
      <p:sp>
        <p:nvSpPr>
          <p:cNvPr id="16" name="Rectangle 11"/>
          <p:cNvSpPr>
            <a:spLocks noChangeArrowheads="1"/>
          </p:cNvSpPr>
          <p:nvPr/>
        </p:nvSpPr>
        <p:spPr bwMode="auto">
          <a:xfrm>
            <a:off x="2374043" y="2092563"/>
            <a:ext cx="2929917" cy="2494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a:lstStyle/>
          <a:p>
            <a:pPr algn="ctr">
              <a:spcBef>
                <a:spcPct val="20000"/>
              </a:spcBef>
            </a:pPr>
            <a:r>
              <a:rPr lang="da-DK" altLang="da-DK" sz="1100" b="1" dirty="0">
                <a:solidFill>
                  <a:schemeClr val="bg1"/>
                </a:solidFill>
                <a:latin typeface="TrueGillSansOneBold" pitchFamily="2" charset="0"/>
              </a:rPr>
              <a:t>www.energyplan.eu/SmartEnergyEurope</a:t>
            </a:r>
          </a:p>
          <a:p>
            <a:pPr algn="ctr">
              <a:spcBef>
                <a:spcPct val="20000"/>
              </a:spcBef>
            </a:pPr>
            <a:endParaRPr lang="da-DK" altLang="da-DK" sz="1100" b="1" dirty="0">
              <a:solidFill>
                <a:schemeClr val="bg1"/>
              </a:solidFill>
              <a:latin typeface="TrueGillSansOneBold" pitchFamily="2" charset="0"/>
            </a:endParaRPr>
          </a:p>
          <a:p>
            <a:pPr algn="ctr">
              <a:spcBef>
                <a:spcPct val="20000"/>
              </a:spcBef>
            </a:pPr>
            <a:endParaRPr lang="da-DK" altLang="da-DK" sz="1100" b="1" dirty="0">
              <a:solidFill>
                <a:schemeClr val="bg1"/>
              </a:solidFill>
              <a:latin typeface="TrueGillSansOneBold" pitchFamily="2" charset="0"/>
            </a:endParaRPr>
          </a:p>
        </p:txBody>
      </p:sp>
      <p:sp>
        <p:nvSpPr>
          <p:cNvPr id="17" name="Rectangle 11"/>
          <p:cNvSpPr>
            <a:spLocks noChangeArrowheads="1"/>
          </p:cNvSpPr>
          <p:nvPr/>
        </p:nvSpPr>
        <p:spPr bwMode="auto">
          <a:xfrm>
            <a:off x="3820477" y="1533137"/>
            <a:ext cx="2147678" cy="244147"/>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a:lstStyle/>
          <a:p>
            <a:pPr algn="ctr">
              <a:spcBef>
                <a:spcPct val="20000"/>
              </a:spcBef>
            </a:pPr>
            <a:r>
              <a:rPr lang="da-DK" altLang="da-DK" sz="1100" b="1" dirty="0">
                <a:solidFill>
                  <a:schemeClr val="bg1"/>
                </a:solidFill>
                <a:latin typeface="TrueGillSansOneBold" pitchFamily="2" charset="0"/>
              </a:rPr>
              <a:t>www.energyplan.eu/buildings</a:t>
            </a:r>
          </a:p>
          <a:p>
            <a:pPr algn="ctr">
              <a:spcBef>
                <a:spcPct val="20000"/>
              </a:spcBef>
            </a:pPr>
            <a:endParaRPr lang="da-DK" altLang="da-DK" sz="1100" b="1" dirty="0">
              <a:solidFill>
                <a:schemeClr val="bg1"/>
              </a:solidFill>
              <a:latin typeface="TrueGillSansOneBold" pitchFamily="2" charset="0"/>
            </a:endParaRPr>
          </a:p>
          <a:p>
            <a:pPr algn="ctr">
              <a:spcBef>
                <a:spcPct val="20000"/>
              </a:spcBef>
            </a:pPr>
            <a:endParaRPr lang="da-DK" altLang="da-DK" sz="1100" b="1" dirty="0">
              <a:solidFill>
                <a:schemeClr val="bg1"/>
              </a:solidFill>
              <a:latin typeface="TrueGillSansOneBold" pitchFamily="2" charset="0"/>
            </a:endParaRPr>
          </a:p>
        </p:txBody>
      </p:sp>
      <p:pic>
        <p:nvPicPr>
          <p:cNvPr id="4" name="Billede 3">
            <a:extLst>
              <a:ext uri="{FF2B5EF4-FFF2-40B4-BE49-F238E27FC236}">
                <a16:creationId xmlns:a16="http://schemas.microsoft.com/office/drawing/2014/main" id="{F76801A4-D1BC-400A-85A2-832A6943694C}"/>
              </a:ext>
            </a:extLst>
          </p:cNvPr>
          <p:cNvPicPr>
            <a:picLocks noChangeAspect="1"/>
          </p:cNvPicPr>
          <p:nvPr/>
        </p:nvPicPr>
        <p:blipFill>
          <a:blip r:embed="rId4"/>
          <a:stretch>
            <a:fillRect/>
          </a:stretch>
        </p:blipFill>
        <p:spPr>
          <a:xfrm>
            <a:off x="261498" y="2426475"/>
            <a:ext cx="2589429" cy="2314511"/>
          </a:xfrm>
          <a:prstGeom prst="rect">
            <a:avLst/>
          </a:prstGeom>
        </p:spPr>
      </p:pic>
      <p:sp>
        <p:nvSpPr>
          <p:cNvPr id="18" name="Rectangle 11">
            <a:extLst>
              <a:ext uri="{FF2B5EF4-FFF2-40B4-BE49-F238E27FC236}">
                <a16:creationId xmlns:a16="http://schemas.microsoft.com/office/drawing/2014/main" id="{02A4179F-A81E-4E31-A2A4-AD59A2602F97}"/>
              </a:ext>
            </a:extLst>
          </p:cNvPr>
          <p:cNvSpPr>
            <a:spLocks noChangeArrowheads="1"/>
          </p:cNvSpPr>
          <p:nvPr/>
        </p:nvSpPr>
        <p:spPr bwMode="auto">
          <a:xfrm>
            <a:off x="6997147" y="2369913"/>
            <a:ext cx="1889260" cy="264300"/>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a:lstStyle/>
          <a:p>
            <a:pPr algn="ctr">
              <a:spcBef>
                <a:spcPct val="20000"/>
              </a:spcBef>
            </a:pPr>
            <a:r>
              <a:rPr lang="da-DK" altLang="da-DK" sz="1100" b="1" dirty="0">
                <a:solidFill>
                  <a:schemeClr val="bg1"/>
                </a:solidFill>
                <a:latin typeface="TrueGillSansOneBold" pitchFamily="2" charset="0"/>
              </a:rPr>
              <a:t>www.sEEnergies.eu</a:t>
            </a:r>
          </a:p>
          <a:p>
            <a:pPr algn="ctr">
              <a:spcBef>
                <a:spcPct val="20000"/>
              </a:spcBef>
            </a:pPr>
            <a:endParaRPr lang="da-DK" altLang="da-DK" sz="1100" b="1" dirty="0">
              <a:solidFill>
                <a:schemeClr val="bg1"/>
              </a:solidFill>
              <a:latin typeface="TrueGillSansOneBold" pitchFamily="2" charset="0"/>
            </a:endParaRPr>
          </a:p>
          <a:p>
            <a:pPr algn="ctr">
              <a:spcBef>
                <a:spcPct val="20000"/>
              </a:spcBef>
            </a:pPr>
            <a:endParaRPr lang="da-DK" altLang="da-DK" sz="1100" b="1" dirty="0">
              <a:solidFill>
                <a:schemeClr val="bg1"/>
              </a:solidFill>
              <a:latin typeface="TrueGillSansOneBold" pitchFamily="2" charset="0"/>
            </a:endParaRPr>
          </a:p>
        </p:txBody>
      </p:sp>
      <p:sp>
        <p:nvSpPr>
          <p:cNvPr id="19" name="Rectangle 11">
            <a:extLst>
              <a:ext uri="{FF2B5EF4-FFF2-40B4-BE49-F238E27FC236}">
                <a16:creationId xmlns:a16="http://schemas.microsoft.com/office/drawing/2014/main" id="{07D60688-686E-43E2-B382-FB6B735D89CD}"/>
              </a:ext>
            </a:extLst>
          </p:cNvPr>
          <p:cNvSpPr>
            <a:spLocks noChangeArrowheads="1"/>
          </p:cNvSpPr>
          <p:nvPr/>
        </p:nvSpPr>
        <p:spPr bwMode="auto">
          <a:xfrm>
            <a:off x="6001529" y="1540184"/>
            <a:ext cx="2884878" cy="237100"/>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a:lstStyle/>
          <a:p>
            <a:pPr algn="ctr">
              <a:spcBef>
                <a:spcPct val="20000"/>
              </a:spcBef>
            </a:pPr>
            <a:r>
              <a:rPr lang="da-DK" altLang="da-DK" sz="1100" b="1" dirty="0">
                <a:solidFill>
                  <a:schemeClr val="bg1"/>
                </a:solidFill>
                <a:latin typeface="TrueGillSansOneBold" pitchFamily="2" charset="0"/>
              </a:rPr>
              <a:t>www.energyplan.eu/IDA2045</a:t>
            </a:r>
          </a:p>
          <a:p>
            <a:pPr algn="ctr">
              <a:spcBef>
                <a:spcPct val="20000"/>
              </a:spcBef>
            </a:pPr>
            <a:endParaRPr lang="da-DK" altLang="da-DK" sz="1100" b="1" dirty="0">
              <a:solidFill>
                <a:schemeClr val="bg1"/>
              </a:solidFill>
              <a:latin typeface="TrueGillSansOneBold" pitchFamily="2" charset="0"/>
            </a:endParaRPr>
          </a:p>
          <a:p>
            <a:pPr algn="ctr">
              <a:spcBef>
                <a:spcPct val="20000"/>
              </a:spcBef>
            </a:pPr>
            <a:endParaRPr lang="da-DK" altLang="da-DK" sz="1100" b="1" dirty="0">
              <a:solidFill>
                <a:schemeClr val="bg1"/>
              </a:solidFill>
              <a:latin typeface="TrueGillSansOneBold" pitchFamily="2" charset="0"/>
            </a:endParaRPr>
          </a:p>
        </p:txBody>
      </p:sp>
      <p:sp>
        <p:nvSpPr>
          <p:cNvPr id="20" name="Rectangle 11">
            <a:extLst>
              <a:ext uri="{FF2B5EF4-FFF2-40B4-BE49-F238E27FC236}">
                <a16:creationId xmlns:a16="http://schemas.microsoft.com/office/drawing/2014/main" id="{BF8AB880-A90E-40EB-A11E-2DEAC83DF7DF}"/>
              </a:ext>
            </a:extLst>
          </p:cNvPr>
          <p:cNvSpPr>
            <a:spLocks noChangeArrowheads="1"/>
          </p:cNvSpPr>
          <p:nvPr/>
        </p:nvSpPr>
        <p:spPr bwMode="auto">
          <a:xfrm>
            <a:off x="4674202" y="2369913"/>
            <a:ext cx="2299753" cy="264300"/>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a:lstStyle/>
          <a:p>
            <a:pPr algn="ctr">
              <a:spcBef>
                <a:spcPct val="20000"/>
              </a:spcBef>
            </a:pPr>
            <a:r>
              <a:rPr lang="da-DK" altLang="da-DK" sz="1100" b="1" dirty="0">
                <a:solidFill>
                  <a:schemeClr val="bg1"/>
                </a:solidFill>
                <a:latin typeface="TrueGillSansOneBold" pitchFamily="2" charset="0"/>
              </a:rPr>
              <a:t>www.energyplan.eu/varmeplan</a:t>
            </a:r>
          </a:p>
          <a:p>
            <a:pPr algn="ctr">
              <a:spcBef>
                <a:spcPct val="20000"/>
              </a:spcBef>
            </a:pPr>
            <a:endParaRPr lang="da-DK" altLang="da-DK" sz="1100" b="1" dirty="0">
              <a:solidFill>
                <a:schemeClr val="bg1"/>
              </a:solidFill>
              <a:latin typeface="TrueGillSansOneBold" pitchFamily="2" charset="0"/>
            </a:endParaRPr>
          </a:p>
          <a:p>
            <a:pPr algn="ctr">
              <a:spcBef>
                <a:spcPct val="20000"/>
              </a:spcBef>
            </a:pPr>
            <a:endParaRPr lang="da-DK" altLang="da-DK" sz="1100" b="1" dirty="0">
              <a:solidFill>
                <a:schemeClr val="bg1"/>
              </a:solidFill>
              <a:latin typeface="TrueGillSansOneBold" pitchFamily="2" charset="0"/>
            </a:endParaRPr>
          </a:p>
        </p:txBody>
      </p:sp>
    </p:spTree>
    <p:extLst>
      <p:ext uri="{BB962C8B-B14F-4D97-AF65-F5344CB8AC3E}">
        <p14:creationId xmlns:p14="http://schemas.microsoft.com/office/powerpoint/2010/main" val="26991092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a:extLst>
              <a:ext uri="{FF2B5EF4-FFF2-40B4-BE49-F238E27FC236}">
                <a16:creationId xmlns:a16="http://schemas.microsoft.com/office/drawing/2014/main" id="{06B1FD9B-8A9B-47DE-B85E-93BEC830E42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00168" y="932242"/>
            <a:ext cx="7170127" cy="3379670"/>
          </a:xfrm>
          <a:prstGeom prst="rect">
            <a:avLst/>
          </a:prstGeom>
          <a:noFill/>
          <a:extLst>
            <a:ext uri="{909E8E84-426E-40DD-AFC4-6F175D3DCCD1}">
              <a14:hiddenFill xmlns:a14="http://schemas.microsoft.com/office/drawing/2010/main">
                <a:solidFill>
                  <a:srgbClr val="FFFFFF"/>
                </a:solidFill>
              </a14:hiddenFill>
            </a:ext>
          </a:extLst>
        </p:spPr>
      </p:pic>
      <p:sp>
        <p:nvSpPr>
          <p:cNvPr id="6" name="Tekstfelt 5">
            <a:extLst>
              <a:ext uri="{FF2B5EF4-FFF2-40B4-BE49-F238E27FC236}">
                <a16:creationId xmlns:a16="http://schemas.microsoft.com/office/drawing/2014/main" id="{84D7F13F-43D6-4D3B-B4E2-41360DAFF659}"/>
              </a:ext>
            </a:extLst>
          </p:cNvPr>
          <p:cNvSpPr txBox="1"/>
          <p:nvPr/>
        </p:nvSpPr>
        <p:spPr>
          <a:xfrm>
            <a:off x="5188712" y="4442978"/>
            <a:ext cx="4627658" cy="507831"/>
          </a:xfrm>
          <a:prstGeom prst="rect">
            <a:avLst/>
          </a:prstGeom>
          <a:noFill/>
        </p:spPr>
        <p:txBody>
          <a:bodyPr wrap="square">
            <a:spAutoFit/>
          </a:bodyPr>
          <a:lstStyle/>
          <a:p>
            <a:r>
              <a:rPr lang="da-DK" dirty="0"/>
              <a:t>https://www.cedigaz.org/quarterly-report-q1-2022-international-natural-gas-prices/</a:t>
            </a:r>
          </a:p>
        </p:txBody>
      </p:sp>
      <p:sp>
        <p:nvSpPr>
          <p:cNvPr id="7" name="Titel 1">
            <a:extLst>
              <a:ext uri="{FF2B5EF4-FFF2-40B4-BE49-F238E27FC236}">
                <a16:creationId xmlns:a16="http://schemas.microsoft.com/office/drawing/2014/main" id="{5319F6AC-0927-4214-A513-BEF3D2756AC9}"/>
              </a:ext>
            </a:extLst>
          </p:cNvPr>
          <p:cNvSpPr>
            <a:spLocks noGrp="1"/>
          </p:cNvSpPr>
          <p:nvPr>
            <p:ph type="title"/>
          </p:nvPr>
        </p:nvSpPr>
        <p:spPr>
          <a:xfrm>
            <a:off x="196377" y="531646"/>
            <a:ext cx="2096314" cy="1461021"/>
          </a:xfrm>
        </p:spPr>
        <p:txBody>
          <a:bodyPr>
            <a:normAutofit/>
          </a:bodyPr>
          <a:lstStyle/>
          <a:p>
            <a:r>
              <a:rPr lang="da-DK" dirty="0"/>
              <a:t>Priserne stiger</a:t>
            </a:r>
          </a:p>
        </p:txBody>
      </p:sp>
    </p:spTree>
    <p:extLst>
      <p:ext uri="{BB962C8B-B14F-4D97-AF65-F5344CB8AC3E}">
        <p14:creationId xmlns:p14="http://schemas.microsoft.com/office/powerpoint/2010/main" val="423276221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D357A1-3108-4D70-8995-E74B338E935B}"/>
              </a:ext>
            </a:extLst>
          </p:cNvPr>
          <p:cNvSpPr>
            <a:spLocks noGrp="1"/>
          </p:cNvSpPr>
          <p:nvPr>
            <p:ph type="title"/>
          </p:nvPr>
        </p:nvSpPr>
        <p:spPr>
          <a:xfrm>
            <a:off x="369164" y="621177"/>
            <a:ext cx="3831431" cy="1105789"/>
          </a:xfrm>
        </p:spPr>
        <p:txBody>
          <a:bodyPr/>
          <a:lstStyle/>
          <a:p>
            <a:r>
              <a:rPr lang="da-DK" dirty="0"/>
              <a:t>Extra slides</a:t>
            </a:r>
          </a:p>
        </p:txBody>
      </p:sp>
      <p:sp>
        <p:nvSpPr>
          <p:cNvPr id="3" name="Pladsholder til tekst 2">
            <a:extLst>
              <a:ext uri="{FF2B5EF4-FFF2-40B4-BE49-F238E27FC236}">
                <a16:creationId xmlns:a16="http://schemas.microsoft.com/office/drawing/2014/main" id="{8CC39C9D-5B81-4297-AAD1-0F4E20F0CA96}"/>
              </a:ext>
            </a:extLst>
          </p:cNvPr>
          <p:cNvSpPr>
            <a:spLocks noGrp="1"/>
          </p:cNvSpPr>
          <p:nvPr>
            <p:ph type="body" sz="quarter" idx="12"/>
          </p:nvPr>
        </p:nvSpPr>
        <p:spPr/>
        <p:txBody>
          <a:bodyPr/>
          <a:lstStyle/>
          <a:p>
            <a:endParaRPr lang="da-DK" dirty="0"/>
          </a:p>
        </p:txBody>
      </p:sp>
    </p:spTree>
    <p:extLst>
      <p:ext uri="{BB962C8B-B14F-4D97-AF65-F5344CB8AC3E}">
        <p14:creationId xmlns:p14="http://schemas.microsoft.com/office/powerpoint/2010/main" val="350083144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6D9F96-FAA3-4A4C-B92C-BBBA9798E3C0}"/>
              </a:ext>
            </a:extLst>
          </p:cNvPr>
          <p:cNvSpPr>
            <a:spLocks noGrp="1"/>
          </p:cNvSpPr>
          <p:nvPr>
            <p:ph type="title"/>
          </p:nvPr>
        </p:nvSpPr>
        <p:spPr>
          <a:xfrm>
            <a:off x="152854" y="766128"/>
            <a:ext cx="4263110" cy="994172"/>
          </a:xfrm>
        </p:spPr>
        <p:txBody>
          <a:bodyPr>
            <a:noAutofit/>
          </a:bodyPr>
          <a:lstStyle/>
          <a:p>
            <a:r>
              <a:rPr lang="da-DK" sz="2000" b="1" dirty="0"/>
              <a:t>Energikrisen </a:t>
            </a:r>
            <a:br>
              <a:rPr lang="da-DK" sz="1600" dirty="0"/>
            </a:br>
            <a:r>
              <a:rPr lang="da-DK" sz="1600" i="1" dirty="0"/>
              <a:t>– Akutte europæiske tiltag og nedlukning ved pludseligt stop for russisk gas </a:t>
            </a:r>
          </a:p>
        </p:txBody>
      </p:sp>
      <p:sp>
        <p:nvSpPr>
          <p:cNvPr id="9" name="Tekstfelt 8">
            <a:extLst>
              <a:ext uri="{FF2B5EF4-FFF2-40B4-BE49-F238E27FC236}">
                <a16:creationId xmlns:a16="http://schemas.microsoft.com/office/drawing/2014/main" id="{CF9B59B7-9F9B-41B6-B5DC-A435A077A6E9}"/>
              </a:ext>
            </a:extLst>
          </p:cNvPr>
          <p:cNvSpPr txBox="1"/>
          <p:nvPr/>
        </p:nvSpPr>
        <p:spPr>
          <a:xfrm>
            <a:off x="206380" y="1689082"/>
            <a:ext cx="4519373" cy="1962076"/>
          </a:xfrm>
          <a:prstGeom prst="rect">
            <a:avLst/>
          </a:prstGeom>
          <a:noFill/>
        </p:spPr>
        <p:txBody>
          <a:bodyPr wrap="square">
            <a:spAutoFit/>
          </a:bodyPr>
          <a:lstStyle/>
          <a:p>
            <a:r>
              <a:rPr lang="da-DK" dirty="0"/>
              <a:t>• Igangsætte borgerrettede informationskampagner om energibesparelser. </a:t>
            </a:r>
          </a:p>
          <a:p>
            <a:r>
              <a:rPr lang="da-DK" dirty="0"/>
              <a:t>• Opdateret krisebredskab for fossile brændsler. </a:t>
            </a:r>
          </a:p>
          <a:p>
            <a:r>
              <a:rPr lang="da-DK" dirty="0"/>
              <a:t>• Midlertidigt brændselsskift til kul og olie samt internationale aftaler på import LNG, olie og kul. </a:t>
            </a:r>
          </a:p>
          <a:p>
            <a:r>
              <a:rPr lang="da-DK" dirty="0"/>
              <a:t>• Akut sikring af arbejdskraft til projekter til nedbringelse af europæisk afhængighed af naturgas. </a:t>
            </a:r>
          </a:p>
          <a:p>
            <a:r>
              <a:rPr lang="da-DK" dirty="0"/>
              <a:t>• Fuldt stop for etablering af alle nye gasbehov.</a:t>
            </a:r>
          </a:p>
          <a:p>
            <a:endParaRPr lang="da-DK" dirty="0"/>
          </a:p>
        </p:txBody>
      </p:sp>
      <p:pic>
        <p:nvPicPr>
          <p:cNvPr id="1026" name="Picture 2" descr="Energy Crisis Mind Map Concept Presentations Stock Vector (Royalty Free)  1816698317">
            <a:extLst>
              <a:ext uri="{FF2B5EF4-FFF2-40B4-BE49-F238E27FC236}">
                <a16:creationId xmlns:a16="http://schemas.microsoft.com/office/drawing/2014/main" id="{E19E0E97-D029-4A3D-BBCC-2ABB0187C46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74512" y="812434"/>
            <a:ext cx="4281001" cy="35186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93938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3BD7FFED-F8A4-4AA5-A825-AF5E8489820F}"/>
              </a:ext>
            </a:extLst>
          </p:cNvPr>
          <p:cNvPicPr>
            <a:picLocks noChangeAspect="1"/>
          </p:cNvPicPr>
          <p:nvPr/>
        </p:nvPicPr>
        <p:blipFill>
          <a:blip r:embed="rId2"/>
          <a:stretch>
            <a:fillRect/>
          </a:stretch>
        </p:blipFill>
        <p:spPr>
          <a:xfrm>
            <a:off x="4969401" y="0"/>
            <a:ext cx="4174599" cy="5143500"/>
          </a:xfrm>
          <a:prstGeom prst="rect">
            <a:avLst/>
          </a:prstGeom>
        </p:spPr>
      </p:pic>
      <p:sp>
        <p:nvSpPr>
          <p:cNvPr id="3" name="Pladsholder til indhold 2">
            <a:extLst>
              <a:ext uri="{FF2B5EF4-FFF2-40B4-BE49-F238E27FC236}">
                <a16:creationId xmlns:a16="http://schemas.microsoft.com/office/drawing/2014/main" id="{07726296-CDA9-4A20-9434-0B932DC4CC94}"/>
              </a:ext>
            </a:extLst>
          </p:cNvPr>
          <p:cNvSpPr>
            <a:spLocks noGrp="1"/>
          </p:cNvSpPr>
          <p:nvPr>
            <p:ph idx="1"/>
          </p:nvPr>
        </p:nvSpPr>
        <p:spPr>
          <a:xfrm>
            <a:off x="5705936" y="4788887"/>
            <a:ext cx="2970996" cy="315453"/>
          </a:xfrm>
        </p:spPr>
        <p:txBody>
          <a:bodyPr>
            <a:normAutofit fontScale="92500"/>
          </a:bodyPr>
          <a:lstStyle/>
          <a:p>
            <a:pPr marL="0" indent="0" algn="ctr">
              <a:buNone/>
            </a:pPr>
            <a:r>
              <a:rPr lang="da-DK" sz="1600" b="1" dirty="0"/>
              <a:t>www.energyplan.eu/varmeplandk</a:t>
            </a:r>
          </a:p>
        </p:txBody>
      </p:sp>
      <p:sp>
        <p:nvSpPr>
          <p:cNvPr id="9" name="Tekstfelt 8">
            <a:extLst>
              <a:ext uri="{FF2B5EF4-FFF2-40B4-BE49-F238E27FC236}">
                <a16:creationId xmlns:a16="http://schemas.microsoft.com/office/drawing/2014/main" id="{CF9B59B7-9F9B-41B6-B5DC-A435A077A6E9}"/>
              </a:ext>
            </a:extLst>
          </p:cNvPr>
          <p:cNvSpPr txBox="1"/>
          <p:nvPr/>
        </p:nvSpPr>
        <p:spPr>
          <a:xfrm>
            <a:off x="200072" y="1109219"/>
            <a:ext cx="4648222" cy="4039567"/>
          </a:xfrm>
          <a:prstGeom prst="rect">
            <a:avLst/>
          </a:prstGeom>
          <a:noFill/>
        </p:spPr>
        <p:txBody>
          <a:bodyPr wrap="square">
            <a:spAutoFit/>
          </a:bodyPr>
          <a:lstStyle/>
          <a:p>
            <a:r>
              <a:rPr lang="da-DK" dirty="0"/>
              <a:t>• Hurtigarbejdende nationale taskforces vedr. omstilling til fjernvarme, omstilling af industri og individuelle varmepumper </a:t>
            </a:r>
          </a:p>
          <a:p>
            <a:pPr lvl="2"/>
            <a:r>
              <a:rPr lang="da-DK" dirty="0"/>
              <a:t>• Samarbejde på tværs af myndigheder, forsyningsvirksomheder og store naturgasvirksomheder mht. hurtig nedbringelse af naturgasforbruget, samt vidensdeling, koordinering af indkøbsindsats og acceleration af omstilling. </a:t>
            </a:r>
          </a:p>
          <a:p>
            <a:pPr lvl="2"/>
            <a:r>
              <a:rPr lang="da-DK" dirty="0"/>
              <a:t>• Central enhed eller rejsehold til support af analyser og projektvurdering mht. myndighedsopgaver som normalt foregår i kommunerne med fokus på fjernvarme </a:t>
            </a:r>
          </a:p>
          <a:p>
            <a:pPr lvl="2"/>
            <a:r>
              <a:rPr lang="da-DK" dirty="0"/>
              <a:t>• Identifikation af flaskehalse på arbejdsmarkedet, samt undersøg muligheder for afbødning af forsinkelser i omstilling, evt. ved omprioriteringer og standsning af andre projekter, frivilligt eller med kompensation, eller med udenlandsk arbejdskraft mv. </a:t>
            </a:r>
          </a:p>
          <a:p>
            <a:pPr lvl="2"/>
            <a:r>
              <a:rPr lang="da-DK" dirty="0"/>
              <a:t>• Standse import af andre energiformer fra Rusland såsom biomasse, kul og olie, og sikre forsyningen gennem nye internationale aftaler i EU-samarbejder.</a:t>
            </a:r>
          </a:p>
        </p:txBody>
      </p:sp>
      <p:sp>
        <p:nvSpPr>
          <p:cNvPr id="8" name="Titel 1">
            <a:extLst>
              <a:ext uri="{FF2B5EF4-FFF2-40B4-BE49-F238E27FC236}">
                <a16:creationId xmlns:a16="http://schemas.microsoft.com/office/drawing/2014/main" id="{14563FF2-C269-4B29-A887-524C409DE39C}"/>
              </a:ext>
            </a:extLst>
          </p:cNvPr>
          <p:cNvSpPr>
            <a:spLocks noGrp="1"/>
          </p:cNvSpPr>
          <p:nvPr>
            <p:ph type="title"/>
          </p:nvPr>
        </p:nvSpPr>
        <p:spPr>
          <a:xfrm>
            <a:off x="206380" y="115047"/>
            <a:ext cx="4263110" cy="994172"/>
          </a:xfrm>
        </p:spPr>
        <p:txBody>
          <a:bodyPr>
            <a:noAutofit/>
          </a:bodyPr>
          <a:lstStyle/>
          <a:p>
            <a:r>
              <a:rPr lang="da-DK" sz="2000" b="1" dirty="0"/>
              <a:t>Energikrisen </a:t>
            </a:r>
            <a:br>
              <a:rPr lang="da-DK" sz="1600" dirty="0"/>
            </a:br>
            <a:r>
              <a:rPr lang="da-DK" sz="1600" i="1" dirty="0"/>
              <a:t>– Akutte danske tiltag og nedlukning ved pludseligt stop for russisk gas </a:t>
            </a:r>
          </a:p>
        </p:txBody>
      </p:sp>
    </p:spTree>
    <p:extLst>
      <p:ext uri="{BB962C8B-B14F-4D97-AF65-F5344CB8AC3E}">
        <p14:creationId xmlns:p14="http://schemas.microsoft.com/office/powerpoint/2010/main" val="54532453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kstfelt 7">
            <a:extLst>
              <a:ext uri="{FF2B5EF4-FFF2-40B4-BE49-F238E27FC236}">
                <a16:creationId xmlns:a16="http://schemas.microsoft.com/office/drawing/2014/main" id="{1AD1E382-56DE-4981-B51F-E91FDFCB8ED3}"/>
              </a:ext>
            </a:extLst>
          </p:cNvPr>
          <p:cNvSpPr txBox="1"/>
          <p:nvPr/>
        </p:nvSpPr>
        <p:spPr>
          <a:xfrm>
            <a:off x="102511" y="971809"/>
            <a:ext cx="4866889" cy="2793072"/>
          </a:xfrm>
          <a:prstGeom prst="rect">
            <a:avLst/>
          </a:prstGeom>
          <a:noFill/>
        </p:spPr>
        <p:txBody>
          <a:bodyPr wrap="square">
            <a:spAutoFit/>
          </a:bodyPr>
          <a:lstStyle/>
          <a:p>
            <a:r>
              <a:rPr lang="da-DK" dirty="0"/>
              <a:t>• Sikre energibesparelseskampagner fortsætter og institutionaliseres, når den akutte situation er overstået. </a:t>
            </a:r>
          </a:p>
          <a:p>
            <a:r>
              <a:rPr lang="da-DK" dirty="0"/>
              <a:t>• Bredt forgrenet indsats på energieffektivitet og elektrificering af europæisk industri. Herunder f.eks. etabling af videnscentre/energirådgivning/rejsehold fordelt på brancher, etabling af støtteordninger mv </a:t>
            </a:r>
          </a:p>
          <a:p>
            <a:r>
              <a:rPr lang="da-DK" dirty="0"/>
              <a:t>• Etabling af fond til nystart af mindst 8.700 fjernvarmenet i Europa inden 2030. </a:t>
            </a:r>
          </a:p>
          <a:p>
            <a:r>
              <a:rPr lang="da-DK" dirty="0"/>
              <a:t>• Sikring af forsyningskæden i EU på energiteknologi til etablering af vindmøller, solceller, fjernvarme, individuelle varmepumper og til elektrificering af industrien. </a:t>
            </a:r>
          </a:p>
          <a:p>
            <a:r>
              <a:rPr lang="da-DK" dirty="0"/>
              <a:t>• Etablering af flere LNG-terminaler </a:t>
            </a:r>
          </a:p>
          <a:p>
            <a:r>
              <a:rPr lang="da-DK" dirty="0"/>
              <a:t>• Forsyningssikkerhed på </a:t>
            </a:r>
            <a:r>
              <a:rPr lang="da-DK" dirty="0" err="1"/>
              <a:t>elkapacitet</a:t>
            </a:r>
            <a:r>
              <a:rPr lang="da-DK" dirty="0"/>
              <a:t>. </a:t>
            </a:r>
          </a:p>
        </p:txBody>
      </p:sp>
      <p:sp>
        <p:nvSpPr>
          <p:cNvPr id="10" name="Titel 1">
            <a:extLst>
              <a:ext uri="{FF2B5EF4-FFF2-40B4-BE49-F238E27FC236}">
                <a16:creationId xmlns:a16="http://schemas.microsoft.com/office/drawing/2014/main" id="{A52E1BD1-5060-4A7D-91EA-42F29163D46D}"/>
              </a:ext>
            </a:extLst>
          </p:cNvPr>
          <p:cNvSpPr>
            <a:spLocks noGrp="1"/>
          </p:cNvSpPr>
          <p:nvPr>
            <p:ph type="title"/>
          </p:nvPr>
        </p:nvSpPr>
        <p:spPr>
          <a:xfrm>
            <a:off x="206379" y="115047"/>
            <a:ext cx="4674807" cy="994172"/>
          </a:xfrm>
        </p:spPr>
        <p:txBody>
          <a:bodyPr>
            <a:noAutofit/>
          </a:bodyPr>
          <a:lstStyle/>
          <a:p>
            <a:r>
              <a:rPr lang="da-DK" sz="2000" b="1" dirty="0"/>
              <a:t>Energikrisen </a:t>
            </a:r>
            <a:br>
              <a:rPr lang="da-DK" sz="1600" dirty="0"/>
            </a:br>
            <a:r>
              <a:rPr lang="da-DK" sz="1600" i="1" dirty="0"/>
              <a:t>– Europæiske tiltag med effekt på kort sigt (2-3 år) </a:t>
            </a:r>
            <a:br>
              <a:rPr lang="da-DK" sz="1600" i="1" dirty="0"/>
            </a:br>
            <a:endParaRPr lang="da-DK" sz="1600" i="1" dirty="0"/>
          </a:p>
        </p:txBody>
      </p:sp>
      <p:pic>
        <p:nvPicPr>
          <p:cNvPr id="2050" name="Picture 2" descr="Energy crisis? What experts are saying as world faces historic energy-price  crunch - MarketWatch">
            <a:extLst>
              <a:ext uri="{FF2B5EF4-FFF2-40B4-BE49-F238E27FC236}">
                <a16:creationId xmlns:a16="http://schemas.microsoft.com/office/drawing/2014/main" id="{A8518911-2F28-48F4-8F7C-059720A7121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26806" y="1175214"/>
            <a:ext cx="4014683" cy="27930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446814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3BD7FFED-F8A4-4AA5-A825-AF5E8489820F}"/>
              </a:ext>
            </a:extLst>
          </p:cNvPr>
          <p:cNvPicPr>
            <a:picLocks noChangeAspect="1"/>
          </p:cNvPicPr>
          <p:nvPr/>
        </p:nvPicPr>
        <p:blipFill>
          <a:blip r:embed="rId2"/>
          <a:stretch>
            <a:fillRect/>
          </a:stretch>
        </p:blipFill>
        <p:spPr>
          <a:xfrm>
            <a:off x="4969401" y="0"/>
            <a:ext cx="4174599" cy="5143500"/>
          </a:xfrm>
          <a:prstGeom prst="rect">
            <a:avLst/>
          </a:prstGeom>
        </p:spPr>
      </p:pic>
      <p:sp>
        <p:nvSpPr>
          <p:cNvPr id="3" name="Pladsholder til indhold 2">
            <a:extLst>
              <a:ext uri="{FF2B5EF4-FFF2-40B4-BE49-F238E27FC236}">
                <a16:creationId xmlns:a16="http://schemas.microsoft.com/office/drawing/2014/main" id="{07726296-CDA9-4A20-9434-0B932DC4CC94}"/>
              </a:ext>
            </a:extLst>
          </p:cNvPr>
          <p:cNvSpPr>
            <a:spLocks noGrp="1"/>
          </p:cNvSpPr>
          <p:nvPr>
            <p:ph idx="1"/>
          </p:nvPr>
        </p:nvSpPr>
        <p:spPr>
          <a:xfrm>
            <a:off x="5705936" y="4788887"/>
            <a:ext cx="2970996" cy="315453"/>
          </a:xfrm>
        </p:spPr>
        <p:txBody>
          <a:bodyPr>
            <a:normAutofit fontScale="92500"/>
          </a:bodyPr>
          <a:lstStyle/>
          <a:p>
            <a:pPr marL="0" indent="0" algn="ctr">
              <a:buNone/>
            </a:pPr>
            <a:r>
              <a:rPr lang="da-DK" sz="1600" b="1" dirty="0"/>
              <a:t>www.energyplan.eu/varmeplandk</a:t>
            </a:r>
          </a:p>
        </p:txBody>
      </p:sp>
      <p:sp>
        <p:nvSpPr>
          <p:cNvPr id="8" name="Tekstfelt 7">
            <a:extLst>
              <a:ext uri="{FF2B5EF4-FFF2-40B4-BE49-F238E27FC236}">
                <a16:creationId xmlns:a16="http://schemas.microsoft.com/office/drawing/2014/main" id="{1AD1E382-56DE-4981-B51F-E91FDFCB8ED3}"/>
              </a:ext>
            </a:extLst>
          </p:cNvPr>
          <p:cNvSpPr txBox="1"/>
          <p:nvPr/>
        </p:nvSpPr>
        <p:spPr>
          <a:xfrm>
            <a:off x="102511" y="971809"/>
            <a:ext cx="4866889" cy="1754326"/>
          </a:xfrm>
          <a:prstGeom prst="rect">
            <a:avLst/>
          </a:prstGeom>
          <a:noFill/>
        </p:spPr>
        <p:txBody>
          <a:bodyPr wrap="square">
            <a:spAutoFit/>
          </a:bodyPr>
          <a:lstStyle/>
          <a:p>
            <a:r>
              <a:rPr lang="da-DK" dirty="0"/>
              <a:t>• Sikre energibesparelseskampagner fortsætter og institutionaliseres</a:t>
            </a:r>
          </a:p>
          <a:p>
            <a:r>
              <a:rPr lang="da-DK" dirty="0"/>
              <a:t>• Genbesøg støtteordninger til energieffektivitet og elektrificering af industrien. Projekter med lange tilbagebetalingstider (4-10 år) samt høje potentielle reduktioner i naturgasforbruget, bør prioriteres. </a:t>
            </a:r>
          </a:p>
          <a:p>
            <a:r>
              <a:rPr lang="da-DK" dirty="0"/>
              <a:t>• Sikre indenlandsk </a:t>
            </a:r>
            <a:r>
              <a:rPr lang="da-DK" dirty="0" err="1"/>
              <a:t>elkapacitet</a:t>
            </a:r>
            <a:r>
              <a:rPr lang="da-DK" dirty="0"/>
              <a:t>. </a:t>
            </a:r>
          </a:p>
          <a:p>
            <a:r>
              <a:rPr lang="da-DK" dirty="0"/>
              <a:t>• Afklar om biogasproduktion kan øges.</a:t>
            </a:r>
          </a:p>
        </p:txBody>
      </p:sp>
      <p:sp>
        <p:nvSpPr>
          <p:cNvPr id="9" name="Titel 1">
            <a:extLst>
              <a:ext uri="{FF2B5EF4-FFF2-40B4-BE49-F238E27FC236}">
                <a16:creationId xmlns:a16="http://schemas.microsoft.com/office/drawing/2014/main" id="{6C159A71-679B-4E40-99F3-8AC5A5AB22FA}"/>
              </a:ext>
            </a:extLst>
          </p:cNvPr>
          <p:cNvSpPr>
            <a:spLocks noGrp="1"/>
          </p:cNvSpPr>
          <p:nvPr>
            <p:ph type="title"/>
          </p:nvPr>
        </p:nvSpPr>
        <p:spPr>
          <a:xfrm>
            <a:off x="206379" y="115047"/>
            <a:ext cx="4674807" cy="994172"/>
          </a:xfrm>
        </p:spPr>
        <p:txBody>
          <a:bodyPr>
            <a:noAutofit/>
          </a:bodyPr>
          <a:lstStyle/>
          <a:p>
            <a:r>
              <a:rPr lang="da-DK" sz="2000" b="1" dirty="0"/>
              <a:t>Energikrisen </a:t>
            </a:r>
            <a:br>
              <a:rPr lang="da-DK" sz="1600" dirty="0"/>
            </a:br>
            <a:r>
              <a:rPr lang="da-DK" sz="1600" i="1" dirty="0"/>
              <a:t>– Danske tiltag med effekt på kort sigt (2-3 år) </a:t>
            </a:r>
            <a:br>
              <a:rPr lang="da-DK" sz="1600" i="1" dirty="0"/>
            </a:br>
            <a:endParaRPr lang="da-DK" sz="1600" i="1" dirty="0"/>
          </a:p>
        </p:txBody>
      </p:sp>
    </p:spTree>
    <p:extLst>
      <p:ext uri="{BB962C8B-B14F-4D97-AF65-F5344CB8AC3E}">
        <p14:creationId xmlns:p14="http://schemas.microsoft.com/office/powerpoint/2010/main" val="227951897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3BD7FFED-F8A4-4AA5-A825-AF5E8489820F}"/>
              </a:ext>
            </a:extLst>
          </p:cNvPr>
          <p:cNvPicPr>
            <a:picLocks noChangeAspect="1"/>
          </p:cNvPicPr>
          <p:nvPr/>
        </p:nvPicPr>
        <p:blipFill>
          <a:blip r:embed="rId2"/>
          <a:stretch>
            <a:fillRect/>
          </a:stretch>
        </p:blipFill>
        <p:spPr>
          <a:xfrm>
            <a:off x="4969401" y="0"/>
            <a:ext cx="4174599" cy="5143500"/>
          </a:xfrm>
          <a:prstGeom prst="rect">
            <a:avLst/>
          </a:prstGeom>
        </p:spPr>
      </p:pic>
      <p:sp>
        <p:nvSpPr>
          <p:cNvPr id="3" name="Pladsholder til indhold 2">
            <a:extLst>
              <a:ext uri="{FF2B5EF4-FFF2-40B4-BE49-F238E27FC236}">
                <a16:creationId xmlns:a16="http://schemas.microsoft.com/office/drawing/2014/main" id="{07726296-CDA9-4A20-9434-0B932DC4CC94}"/>
              </a:ext>
            </a:extLst>
          </p:cNvPr>
          <p:cNvSpPr>
            <a:spLocks noGrp="1"/>
          </p:cNvSpPr>
          <p:nvPr>
            <p:ph idx="1"/>
          </p:nvPr>
        </p:nvSpPr>
        <p:spPr>
          <a:xfrm>
            <a:off x="5705936" y="4788887"/>
            <a:ext cx="2970996" cy="315453"/>
          </a:xfrm>
        </p:spPr>
        <p:txBody>
          <a:bodyPr>
            <a:normAutofit fontScale="92500"/>
          </a:bodyPr>
          <a:lstStyle/>
          <a:p>
            <a:pPr marL="0" indent="0" algn="ctr">
              <a:buNone/>
            </a:pPr>
            <a:r>
              <a:rPr lang="da-DK" sz="1600" b="1" dirty="0"/>
              <a:t>www.energyplan.eu/varmeplandk</a:t>
            </a:r>
          </a:p>
        </p:txBody>
      </p:sp>
      <p:sp>
        <p:nvSpPr>
          <p:cNvPr id="8" name="Tekstfelt 7">
            <a:extLst>
              <a:ext uri="{FF2B5EF4-FFF2-40B4-BE49-F238E27FC236}">
                <a16:creationId xmlns:a16="http://schemas.microsoft.com/office/drawing/2014/main" id="{1AD1E382-56DE-4981-B51F-E91FDFCB8ED3}"/>
              </a:ext>
            </a:extLst>
          </p:cNvPr>
          <p:cNvSpPr txBox="1"/>
          <p:nvPr/>
        </p:nvSpPr>
        <p:spPr>
          <a:xfrm>
            <a:off x="102511" y="971809"/>
            <a:ext cx="4866889" cy="4039567"/>
          </a:xfrm>
          <a:prstGeom prst="rect">
            <a:avLst/>
          </a:prstGeom>
          <a:noFill/>
        </p:spPr>
        <p:txBody>
          <a:bodyPr wrap="square">
            <a:spAutoFit/>
          </a:bodyPr>
          <a:lstStyle/>
          <a:p>
            <a:r>
              <a:rPr lang="da-DK" dirty="0"/>
              <a:t>• Krav om varmeplanlægning i de 98 danske kommuner med henblik på at etablere et grundlag for den enkelte bygningsejer at vide, om der vil blive fjernvarme i området, eller om der skal etableres en individuel varmepumpe. Find inspiration i Varmeplan Danmark 2021. </a:t>
            </a:r>
          </a:p>
          <a:p>
            <a:r>
              <a:rPr lang="da-DK" dirty="0"/>
              <a:t>• Stil krav til kommunal sagsbehandlingstid vedr. fjernvarmeprojekter med henblik på at stoppe køb af nye gasfyr. </a:t>
            </a:r>
          </a:p>
          <a:p>
            <a:r>
              <a:rPr lang="da-DK" dirty="0"/>
              <a:t>• Prioriter store bygninger og samlede bygningskomplekser med gasforsyning. Prioriter tilslutning af store bygninger, som etageejendomme og offentlige bygninger, til fjernvarme. Alene i den almene sektor er der 40.000 boliger, der er opvarmet med naturgas. </a:t>
            </a:r>
          </a:p>
          <a:p>
            <a:r>
              <a:rPr lang="da-DK" dirty="0"/>
              <a:t>• Giv bedre muligheder for, at fjernvarmeforsyninger kan overtage naturgasfyr, inden der etableres fjernvarme. Dette skal sikre, at fjernvarmen udbredes, hvor der er et varmegrundlag, og ikke undermineres af individuelle varmepumper. Dette kan suppleres med at fjernvarmeforsyningen midlertidigt opsætter varmepumper. Om nødvendig skal der afsættes yderligere midler her. </a:t>
            </a:r>
          </a:p>
        </p:txBody>
      </p:sp>
      <p:sp>
        <p:nvSpPr>
          <p:cNvPr id="9" name="Titel 1">
            <a:extLst>
              <a:ext uri="{FF2B5EF4-FFF2-40B4-BE49-F238E27FC236}">
                <a16:creationId xmlns:a16="http://schemas.microsoft.com/office/drawing/2014/main" id="{EC4D3594-0BE9-40F8-AE7A-683BA47D86B4}"/>
              </a:ext>
            </a:extLst>
          </p:cNvPr>
          <p:cNvSpPr>
            <a:spLocks noGrp="1"/>
          </p:cNvSpPr>
          <p:nvPr>
            <p:ph type="title"/>
          </p:nvPr>
        </p:nvSpPr>
        <p:spPr>
          <a:xfrm>
            <a:off x="206379" y="115047"/>
            <a:ext cx="4674807" cy="994172"/>
          </a:xfrm>
        </p:spPr>
        <p:txBody>
          <a:bodyPr>
            <a:noAutofit/>
          </a:bodyPr>
          <a:lstStyle/>
          <a:p>
            <a:r>
              <a:rPr lang="da-DK" sz="2000" b="1" dirty="0"/>
              <a:t>Energikrisen </a:t>
            </a:r>
            <a:br>
              <a:rPr lang="da-DK" sz="1600" dirty="0"/>
            </a:br>
            <a:r>
              <a:rPr lang="da-DK" sz="1600" i="1" dirty="0"/>
              <a:t>– Danske tiltag med effekt på kort sigt (2-3 år) </a:t>
            </a:r>
            <a:br>
              <a:rPr lang="da-DK" sz="1600" i="1" dirty="0"/>
            </a:br>
            <a:endParaRPr lang="da-DK" sz="1600" i="1" dirty="0"/>
          </a:p>
        </p:txBody>
      </p:sp>
    </p:spTree>
    <p:extLst>
      <p:ext uri="{BB962C8B-B14F-4D97-AF65-F5344CB8AC3E}">
        <p14:creationId xmlns:p14="http://schemas.microsoft.com/office/powerpoint/2010/main" val="11962281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kstfelt 7">
            <a:extLst>
              <a:ext uri="{FF2B5EF4-FFF2-40B4-BE49-F238E27FC236}">
                <a16:creationId xmlns:a16="http://schemas.microsoft.com/office/drawing/2014/main" id="{1AD1E382-56DE-4981-B51F-E91FDFCB8ED3}"/>
              </a:ext>
            </a:extLst>
          </p:cNvPr>
          <p:cNvSpPr txBox="1"/>
          <p:nvPr/>
        </p:nvSpPr>
        <p:spPr>
          <a:xfrm>
            <a:off x="102511" y="971809"/>
            <a:ext cx="4866889" cy="4247317"/>
          </a:xfrm>
          <a:prstGeom prst="rect">
            <a:avLst/>
          </a:prstGeom>
          <a:noFill/>
        </p:spPr>
        <p:txBody>
          <a:bodyPr wrap="square">
            <a:spAutoFit/>
          </a:bodyPr>
          <a:lstStyle/>
          <a:p>
            <a:r>
              <a:rPr lang="da-DK" dirty="0"/>
              <a:t>• Fortsætte indsats mht. energibesparelser på tværs af forsyninger. </a:t>
            </a:r>
          </a:p>
          <a:p>
            <a:r>
              <a:rPr lang="da-DK" dirty="0"/>
              <a:t>• Sikre fortsat forbedret forankring af omstilling til fjernvarme og elektrificering af industrien i de enkelte medlemslande. </a:t>
            </a:r>
          </a:p>
          <a:p>
            <a:r>
              <a:rPr lang="da-DK" dirty="0"/>
              <a:t>• Sikre “Energy </a:t>
            </a:r>
            <a:r>
              <a:rPr lang="da-DK" dirty="0" err="1"/>
              <a:t>Efficiency</a:t>
            </a:r>
            <a:r>
              <a:rPr lang="da-DK" dirty="0"/>
              <a:t> First” princippet er implementeret i alle forbrugssektorer. Målsætningerne på energieffektivitet i EU er allerede høje. </a:t>
            </a:r>
          </a:p>
          <a:p>
            <a:r>
              <a:rPr lang="da-DK" dirty="0"/>
              <a:t>• Fælles EU energipolitik skal også have fokus på sikkerhed og selvforsyning med vedvarende energi. Mindske afhængighed af petrokemiske produktion til kemikalieindustrien, f.eks. ammoniak vha. power2X. </a:t>
            </a:r>
          </a:p>
          <a:p>
            <a:r>
              <a:rPr lang="da-DK" dirty="0"/>
              <a:t>• Koordinerede indsatser vedr. planlægning af offshore vind med særligt fokus på Nordsøen. På </a:t>
            </a:r>
            <a:r>
              <a:rPr lang="da-DK" dirty="0" err="1"/>
              <a:t>landvind</a:t>
            </a:r>
            <a:r>
              <a:rPr lang="da-DK" dirty="0"/>
              <a:t> kan man dele </a:t>
            </a:r>
            <a:r>
              <a:rPr lang="da-DK" dirty="0" err="1"/>
              <a:t>best</a:t>
            </a:r>
            <a:r>
              <a:rPr lang="da-DK" dirty="0"/>
              <a:t> </a:t>
            </a:r>
            <a:r>
              <a:rPr lang="da-DK" dirty="0" err="1"/>
              <a:t>practise</a:t>
            </a:r>
            <a:r>
              <a:rPr lang="da-DK" dirty="0"/>
              <a:t> på tværs af lande, og vedr. solceller, bør man fokusere på at få markedet til at drive opsætning af solceller på store tage over 100 m2. </a:t>
            </a:r>
          </a:p>
          <a:p>
            <a:r>
              <a:rPr lang="da-DK" dirty="0"/>
              <a:t>• Sikre opdeling i </a:t>
            </a:r>
            <a:r>
              <a:rPr lang="da-DK" dirty="0" err="1"/>
              <a:t>elmarkeder</a:t>
            </a:r>
            <a:r>
              <a:rPr lang="da-DK" dirty="0"/>
              <a:t> i Europa, f.eks. opdeling af Nord- og Sydtyskland. </a:t>
            </a:r>
          </a:p>
          <a:p>
            <a:r>
              <a:rPr lang="da-DK" dirty="0"/>
              <a:t>• EU bør kortlægge udenlandsk ejerskab af samfundskritiks infrastruktur og fremme lokalt ejerskab i nye VE-projekter, fjernvarme mv. </a:t>
            </a:r>
          </a:p>
        </p:txBody>
      </p:sp>
      <p:sp>
        <p:nvSpPr>
          <p:cNvPr id="9" name="Titel 1">
            <a:extLst>
              <a:ext uri="{FF2B5EF4-FFF2-40B4-BE49-F238E27FC236}">
                <a16:creationId xmlns:a16="http://schemas.microsoft.com/office/drawing/2014/main" id="{EC4D3594-0BE9-40F8-AE7A-683BA47D86B4}"/>
              </a:ext>
            </a:extLst>
          </p:cNvPr>
          <p:cNvSpPr>
            <a:spLocks noGrp="1"/>
          </p:cNvSpPr>
          <p:nvPr>
            <p:ph type="title"/>
          </p:nvPr>
        </p:nvSpPr>
        <p:spPr>
          <a:xfrm>
            <a:off x="206379" y="115047"/>
            <a:ext cx="4763021" cy="994172"/>
          </a:xfrm>
        </p:spPr>
        <p:txBody>
          <a:bodyPr>
            <a:noAutofit/>
          </a:bodyPr>
          <a:lstStyle/>
          <a:p>
            <a:r>
              <a:rPr lang="da-DK" sz="2000" b="1" dirty="0"/>
              <a:t>Energikrisen </a:t>
            </a:r>
            <a:br>
              <a:rPr lang="da-DK" sz="1600" dirty="0"/>
            </a:br>
            <a:r>
              <a:rPr lang="da-DK" sz="1600" i="1" dirty="0"/>
              <a:t>–Europæiske tiltag med et mellemlangt perspektiv (5-8 år) </a:t>
            </a:r>
            <a:br>
              <a:rPr lang="da-DK" sz="1600" i="1" dirty="0"/>
            </a:br>
            <a:endParaRPr lang="da-DK" sz="1600" i="1" dirty="0"/>
          </a:p>
        </p:txBody>
      </p:sp>
      <p:pic>
        <p:nvPicPr>
          <p:cNvPr id="3074" name="Picture 2" descr="What A Global Energy Crisis Means For North American Stocks - News">
            <a:extLst>
              <a:ext uri="{FF2B5EF4-FFF2-40B4-BE49-F238E27FC236}">
                <a16:creationId xmlns:a16="http://schemas.microsoft.com/office/drawing/2014/main" id="{88DB7099-466C-48C2-A8CF-7D46346EB3E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10005" y="1109219"/>
            <a:ext cx="4131484" cy="27899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839556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3BD7FFED-F8A4-4AA5-A825-AF5E8489820F}"/>
              </a:ext>
            </a:extLst>
          </p:cNvPr>
          <p:cNvPicPr>
            <a:picLocks noChangeAspect="1"/>
          </p:cNvPicPr>
          <p:nvPr/>
        </p:nvPicPr>
        <p:blipFill>
          <a:blip r:embed="rId2"/>
          <a:stretch>
            <a:fillRect/>
          </a:stretch>
        </p:blipFill>
        <p:spPr>
          <a:xfrm>
            <a:off x="4969401" y="0"/>
            <a:ext cx="4174599" cy="5143500"/>
          </a:xfrm>
          <a:prstGeom prst="rect">
            <a:avLst/>
          </a:prstGeom>
        </p:spPr>
      </p:pic>
      <p:sp>
        <p:nvSpPr>
          <p:cNvPr id="3" name="Pladsholder til indhold 2">
            <a:extLst>
              <a:ext uri="{FF2B5EF4-FFF2-40B4-BE49-F238E27FC236}">
                <a16:creationId xmlns:a16="http://schemas.microsoft.com/office/drawing/2014/main" id="{07726296-CDA9-4A20-9434-0B932DC4CC94}"/>
              </a:ext>
            </a:extLst>
          </p:cNvPr>
          <p:cNvSpPr>
            <a:spLocks noGrp="1"/>
          </p:cNvSpPr>
          <p:nvPr>
            <p:ph idx="1"/>
          </p:nvPr>
        </p:nvSpPr>
        <p:spPr>
          <a:xfrm>
            <a:off x="5705936" y="4788887"/>
            <a:ext cx="2970996" cy="315453"/>
          </a:xfrm>
        </p:spPr>
        <p:txBody>
          <a:bodyPr>
            <a:normAutofit fontScale="92500"/>
          </a:bodyPr>
          <a:lstStyle/>
          <a:p>
            <a:pPr marL="0" indent="0" algn="ctr">
              <a:buNone/>
            </a:pPr>
            <a:r>
              <a:rPr lang="da-DK" sz="1600" b="1" dirty="0"/>
              <a:t>www.energyplan.eu/varmeplandk</a:t>
            </a:r>
          </a:p>
        </p:txBody>
      </p:sp>
      <p:sp>
        <p:nvSpPr>
          <p:cNvPr id="10" name="Tekstfelt 9">
            <a:extLst>
              <a:ext uri="{FF2B5EF4-FFF2-40B4-BE49-F238E27FC236}">
                <a16:creationId xmlns:a16="http://schemas.microsoft.com/office/drawing/2014/main" id="{165849BE-CCD5-4BA4-9983-553F9AE1DB87}"/>
              </a:ext>
            </a:extLst>
          </p:cNvPr>
          <p:cNvSpPr txBox="1"/>
          <p:nvPr/>
        </p:nvSpPr>
        <p:spPr>
          <a:xfrm>
            <a:off x="69667" y="960449"/>
            <a:ext cx="4891893" cy="4455066"/>
          </a:xfrm>
          <a:prstGeom prst="rect">
            <a:avLst/>
          </a:prstGeom>
          <a:noFill/>
        </p:spPr>
        <p:txBody>
          <a:bodyPr wrap="square">
            <a:spAutoFit/>
          </a:bodyPr>
          <a:lstStyle/>
          <a:p>
            <a:r>
              <a:rPr lang="da-DK" dirty="0"/>
              <a:t>• En langsigtet plan for udbygning af vedvarende energi. </a:t>
            </a:r>
          </a:p>
          <a:p>
            <a:r>
              <a:rPr lang="da-DK" dirty="0"/>
              <a:t>• Afdække muligheden for at revidere VE-loven. </a:t>
            </a:r>
          </a:p>
          <a:p>
            <a:r>
              <a:rPr lang="da-DK" dirty="0"/>
              <a:t>• Vindmølle og solcelleplanlægning i kommuner. </a:t>
            </a:r>
          </a:p>
          <a:p>
            <a:r>
              <a:rPr lang="da-DK" dirty="0"/>
              <a:t>• Gå fra enkeltstående udbud til klynge-udbud af VE-projekter. </a:t>
            </a:r>
          </a:p>
          <a:p>
            <a:r>
              <a:rPr lang="da-DK" dirty="0"/>
              <a:t>• Afklar om målsætningen for 100% grøn gas i Danmark kan rykkes til 2030.</a:t>
            </a:r>
          </a:p>
          <a:p>
            <a:r>
              <a:rPr lang="da-DK" dirty="0"/>
              <a:t>• En revision af </a:t>
            </a:r>
            <a:r>
              <a:rPr lang="da-DK" dirty="0" err="1"/>
              <a:t>elmarkederne</a:t>
            </a:r>
            <a:r>
              <a:rPr lang="da-DK" dirty="0"/>
              <a:t> og zonering skal sikre mere lokal udnyttelse af vedvarende energi ved at lokale elnettariffer animerer til at slukke eller tænde forbrug i stedet for, at vedvarende energi går til spilde, ved at der slukkes for vindmøllerne. </a:t>
            </a:r>
          </a:p>
          <a:p>
            <a:r>
              <a:rPr lang="da-DK" dirty="0"/>
              <a:t>• Øget statslig og kommunal integreret strategisk energiplanlægning, inkl. opgaver om at definere fjernvarmeområder samt fremme etablering og realisering af energibesparelser, fjerne arealmæssige barriere for </a:t>
            </a:r>
            <a:r>
              <a:rPr lang="da-DK" dirty="0" err="1"/>
              <a:t>geotermi</a:t>
            </a:r>
            <a:r>
              <a:rPr lang="da-DK" dirty="0"/>
              <a:t>, store varmepumper, store </a:t>
            </a:r>
            <a:r>
              <a:rPr lang="da-DK" dirty="0" err="1"/>
              <a:t>varmelagre</a:t>
            </a:r>
            <a:r>
              <a:rPr lang="da-DK" dirty="0"/>
              <a:t> mv. Strategisk energiplanlægning inkluderer transport, power2X mv. Regionale planprocesser med ikke bindende strategier, kan facilitere, at nye VE anlæg placeres, så de kan indpasses billigst og smartest muligt i energiforsyningen og at energiplanlægningen koordineres på tværs af kommuner. </a:t>
            </a:r>
          </a:p>
          <a:p>
            <a:endParaRPr lang="da-DK" dirty="0"/>
          </a:p>
        </p:txBody>
      </p:sp>
      <p:sp>
        <p:nvSpPr>
          <p:cNvPr id="14" name="Titel 1">
            <a:extLst>
              <a:ext uri="{FF2B5EF4-FFF2-40B4-BE49-F238E27FC236}">
                <a16:creationId xmlns:a16="http://schemas.microsoft.com/office/drawing/2014/main" id="{57115536-9B52-4E79-BE14-8F0D9EDAC618}"/>
              </a:ext>
            </a:extLst>
          </p:cNvPr>
          <p:cNvSpPr>
            <a:spLocks noGrp="1"/>
          </p:cNvSpPr>
          <p:nvPr>
            <p:ph type="title"/>
          </p:nvPr>
        </p:nvSpPr>
        <p:spPr>
          <a:xfrm>
            <a:off x="206379" y="115047"/>
            <a:ext cx="4891894" cy="994172"/>
          </a:xfrm>
        </p:spPr>
        <p:txBody>
          <a:bodyPr>
            <a:noAutofit/>
          </a:bodyPr>
          <a:lstStyle/>
          <a:p>
            <a:r>
              <a:rPr lang="da-DK" sz="2000" b="1" dirty="0"/>
              <a:t>Energikrisen </a:t>
            </a:r>
            <a:br>
              <a:rPr lang="da-DK" sz="1600" dirty="0"/>
            </a:br>
            <a:r>
              <a:rPr lang="da-DK" sz="1600" i="1" dirty="0"/>
              <a:t>–Danske tiltag med et mellemlangt perspektiv (5-8 år) </a:t>
            </a:r>
            <a:br>
              <a:rPr lang="da-DK" sz="1600" i="1" dirty="0"/>
            </a:br>
            <a:endParaRPr lang="da-DK" sz="1600" i="1" dirty="0"/>
          </a:p>
        </p:txBody>
      </p:sp>
    </p:spTree>
    <p:extLst>
      <p:ext uri="{BB962C8B-B14F-4D97-AF65-F5344CB8AC3E}">
        <p14:creationId xmlns:p14="http://schemas.microsoft.com/office/powerpoint/2010/main" val="309403732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3BD7FFED-F8A4-4AA5-A825-AF5E8489820F}"/>
              </a:ext>
            </a:extLst>
          </p:cNvPr>
          <p:cNvPicPr>
            <a:picLocks noChangeAspect="1"/>
          </p:cNvPicPr>
          <p:nvPr/>
        </p:nvPicPr>
        <p:blipFill>
          <a:blip r:embed="rId2"/>
          <a:stretch>
            <a:fillRect/>
          </a:stretch>
        </p:blipFill>
        <p:spPr>
          <a:xfrm>
            <a:off x="4969401" y="0"/>
            <a:ext cx="4174599" cy="5143500"/>
          </a:xfrm>
          <a:prstGeom prst="rect">
            <a:avLst/>
          </a:prstGeom>
        </p:spPr>
      </p:pic>
      <p:sp>
        <p:nvSpPr>
          <p:cNvPr id="3" name="Pladsholder til indhold 2">
            <a:extLst>
              <a:ext uri="{FF2B5EF4-FFF2-40B4-BE49-F238E27FC236}">
                <a16:creationId xmlns:a16="http://schemas.microsoft.com/office/drawing/2014/main" id="{07726296-CDA9-4A20-9434-0B932DC4CC94}"/>
              </a:ext>
            </a:extLst>
          </p:cNvPr>
          <p:cNvSpPr>
            <a:spLocks noGrp="1"/>
          </p:cNvSpPr>
          <p:nvPr>
            <p:ph idx="1"/>
          </p:nvPr>
        </p:nvSpPr>
        <p:spPr>
          <a:xfrm>
            <a:off x="5705936" y="4788887"/>
            <a:ext cx="2970996" cy="315453"/>
          </a:xfrm>
        </p:spPr>
        <p:txBody>
          <a:bodyPr>
            <a:normAutofit fontScale="92500"/>
          </a:bodyPr>
          <a:lstStyle/>
          <a:p>
            <a:pPr marL="0" indent="0" algn="ctr">
              <a:buNone/>
            </a:pPr>
            <a:r>
              <a:rPr lang="da-DK" sz="1600" b="1" dirty="0"/>
              <a:t>www.energyplan.eu/varmeplandk</a:t>
            </a:r>
          </a:p>
        </p:txBody>
      </p:sp>
      <p:sp>
        <p:nvSpPr>
          <p:cNvPr id="10" name="Tekstfelt 9">
            <a:extLst>
              <a:ext uri="{FF2B5EF4-FFF2-40B4-BE49-F238E27FC236}">
                <a16:creationId xmlns:a16="http://schemas.microsoft.com/office/drawing/2014/main" id="{165849BE-CCD5-4BA4-9983-553F9AE1DB87}"/>
              </a:ext>
            </a:extLst>
          </p:cNvPr>
          <p:cNvSpPr txBox="1"/>
          <p:nvPr/>
        </p:nvSpPr>
        <p:spPr>
          <a:xfrm>
            <a:off x="69668" y="960449"/>
            <a:ext cx="4811518" cy="3000821"/>
          </a:xfrm>
          <a:prstGeom prst="rect">
            <a:avLst/>
          </a:prstGeom>
          <a:noFill/>
        </p:spPr>
        <p:txBody>
          <a:bodyPr wrap="square">
            <a:spAutoFit/>
          </a:bodyPr>
          <a:lstStyle/>
          <a:p>
            <a:r>
              <a:rPr lang="da-DK" dirty="0"/>
              <a:t>• Fjernvarme dækning på 63-70%. Varmeplanlægningen, og initiativerne som virker på kort sigt, forsættes så fjernvarmedækningen er på mellem 63-70% inden for 5-6 år, samtidigt med at øvrig bebyggelse får individuelle varmepumper. </a:t>
            </a:r>
          </a:p>
          <a:p>
            <a:r>
              <a:rPr lang="da-DK" dirty="0"/>
              <a:t>• Overvåg/sikre udnyttelse af overskudsvarme fra industri, power2X, datacentre, samt </a:t>
            </a:r>
            <a:r>
              <a:rPr lang="da-DK" dirty="0" err="1"/>
              <a:t>geotermi</a:t>
            </a:r>
            <a:r>
              <a:rPr lang="da-DK" dirty="0"/>
              <a:t>. </a:t>
            </a:r>
          </a:p>
          <a:p>
            <a:r>
              <a:rPr lang="da-DK" dirty="0"/>
              <a:t>• Undersøg mulighederne for store fjernvarmetransmissionsledninger. Mulighederne for at tilslutte mere industriel overskudsvarme, og udnytte vedvarende energi, samt for at tilslutte nye boliger som tidligere havde naturgas, øges potentielt ved transmission af varme over større afstande. Med høje energipriser, bør man igen undersøge mulighederne for f.eks. at etablere transmissionsnet i Østjylland og fra Kalundborg over Holbæk til Roskilde og hovedstadsområdet. </a:t>
            </a:r>
          </a:p>
        </p:txBody>
      </p:sp>
      <p:sp>
        <p:nvSpPr>
          <p:cNvPr id="14" name="Titel 1">
            <a:extLst>
              <a:ext uri="{FF2B5EF4-FFF2-40B4-BE49-F238E27FC236}">
                <a16:creationId xmlns:a16="http://schemas.microsoft.com/office/drawing/2014/main" id="{57115536-9B52-4E79-BE14-8F0D9EDAC618}"/>
              </a:ext>
            </a:extLst>
          </p:cNvPr>
          <p:cNvSpPr>
            <a:spLocks noGrp="1"/>
          </p:cNvSpPr>
          <p:nvPr>
            <p:ph type="title"/>
          </p:nvPr>
        </p:nvSpPr>
        <p:spPr>
          <a:xfrm>
            <a:off x="206379" y="115047"/>
            <a:ext cx="4891894" cy="994172"/>
          </a:xfrm>
        </p:spPr>
        <p:txBody>
          <a:bodyPr>
            <a:noAutofit/>
          </a:bodyPr>
          <a:lstStyle/>
          <a:p>
            <a:r>
              <a:rPr lang="da-DK" sz="2000" b="1" dirty="0"/>
              <a:t>Energikrisen </a:t>
            </a:r>
            <a:br>
              <a:rPr lang="da-DK" sz="1600" dirty="0"/>
            </a:br>
            <a:r>
              <a:rPr lang="da-DK" sz="1600" i="1" dirty="0"/>
              <a:t>–Danske tiltag med et mellemlangt perspektiv (5-8 år) </a:t>
            </a:r>
            <a:br>
              <a:rPr lang="da-DK" sz="1600" i="1" dirty="0"/>
            </a:br>
            <a:endParaRPr lang="da-DK" sz="1600" i="1" dirty="0"/>
          </a:p>
        </p:txBody>
      </p:sp>
    </p:spTree>
    <p:extLst>
      <p:ext uri="{BB962C8B-B14F-4D97-AF65-F5344CB8AC3E}">
        <p14:creationId xmlns:p14="http://schemas.microsoft.com/office/powerpoint/2010/main" val="160077716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descr="http://www.pollybecker.com/wp-content/uploads/geopolitics.jpg">
            <a:extLst>
              <a:ext uri="{FF2B5EF4-FFF2-40B4-BE49-F238E27FC236}">
                <a16:creationId xmlns:a16="http://schemas.microsoft.com/office/drawing/2014/main" id="{A703C360-CB92-441A-9654-547A62B7A18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18670" y="982194"/>
            <a:ext cx="1480684" cy="1163395"/>
          </a:xfrm>
          <a:prstGeom prst="rect">
            <a:avLst/>
          </a:prstGeom>
          <a:noFill/>
          <a:extLst>
            <a:ext uri="{909E8E84-426E-40DD-AFC4-6F175D3DCCD1}">
              <a14:hiddenFill xmlns:a14="http://schemas.microsoft.com/office/drawing/2010/main">
                <a:solidFill>
                  <a:srgbClr val="FFFFFF"/>
                </a:solidFill>
              </a14:hiddenFill>
            </a:ext>
          </a:extLst>
        </p:spPr>
      </p:pic>
      <p:sp>
        <p:nvSpPr>
          <p:cNvPr id="3" name="Pladsholder til indhold 2">
            <a:extLst>
              <a:ext uri="{FF2B5EF4-FFF2-40B4-BE49-F238E27FC236}">
                <a16:creationId xmlns:a16="http://schemas.microsoft.com/office/drawing/2014/main" id="{56E254E4-9551-4119-819C-55B5782EBF1F}"/>
              </a:ext>
            </a:extLst>
          </p:cNvPr>
          <p:cNvSpPr>
            <a:spLocks noGrp="1"/>
          </p:cNvSpPr>
          <p:nvPr>
            <p:ph idx="1"/>
          </p:nvPr>
        </p:nvSpPr>
        <p:spPr>
          <a:xfrm>
            <a:off x="193016" y="1563892"/>
            <a:ext cx="7053173" cy="2639607"/>
          </a:xfrm>
        </p:spPr>
        <p:txBody>
          <a:bodyPr>
            <a:noAutofit/>
          </a:bodyPr>
          <a:lstStyle/>
          <a:p>
            <a:pPr marL="0" indent="0">
              <a:buNone/>
            </a:pPr>
            <a:r>
              <a:rPr lang="da-DK" sz="900" dirty="0">
                <a:latin typeface="+mn-lt"/>
              </a:rPr>
              <a:t>Den tredje energikrise, de manglende initiativer i </a:t>
            </a:r>
            <a:r>
              <a:rPr lang="da-DK" sz="900" dirty="0" err="1">
                <a:latin typeface="+mn-lt"/>
              </a:rPr>
              <a:t>Parisaftalen</a:t>
            </a:r>
            <a:r>
              <a:rPr lang="da-DK" sz="900" dirty="0">
                <a:latin typeface="+mn-lt"/>
              </a:rPr>
              <a:t> er en chance vi skal gribe.</a:t>
            </a:r>
          </a:p>
          <a:p>
            <a:pPr marL="0" indent="0">
              <a:buNone/>
            </a:pPr>
            <a:r>
              <a:rPr lang="da-DK" sz="900" dirty="0">
                <a:latin typeface="+mn-lt"/>
              </a:rPr>
              <a:t>EU har desværre en fejlslagen energipolitik hvad angår naturgas. Det skygger over mange andre gode resultater på energieffektivitet og VE. </a:t>
            </a:r>
          </a:p>
          <a:p>
            <a:pPr marL="0" indent="0">
              <a:buNone/>
            </a:pPr>
            <a:r>
              <a:rPr lang="da-DK" sz="900" dirty="0">
                <a:latin typeface="+mn-lt"/>
              </a:rPr>
              <a:t>Et nyt fokus i Fitfor55 skal kombineres med et fokus på at EE og VE kan hjælpe EU’s konkurrencedygtighed, forsyningssikkerhed og geopolitiske situation. En krise kræver fokus på mere end klima for at få alle med.</a:t>
            </a:r>
          </a:p>
          <a:p>
            <a:pPr marL="0" indent="0">
              <a:buNone/>
            </a:pPr>
            <a:r>
              <a:rPr lang="da-DK" sz="900" dirty="0">
                <a:latin typeface="+mn-lt"/>
              </a:rPr>
              <a:t> Vi kan have en effekt på det globale klima og skabe mereksport. </a:t>
            </a:r>
            <a:r>
              <a:rPr lang="da-DK" altLang="da-DK" sz="900" dirty="0">
                <a:latin typeface="+mn-lt"/>
              </a:rPr>
              <a:t>Danmark bør opfylde målsætningerne på en måde, så det passer ind i, at resten af Europa og i sidste ende, at resten af verden kan gøre det samme. ‘(international transport, Biomasse, fleksibilitet mht. elnet)</a:t>
            </a:r>
          </a:p>
          <a:p>
            <a:pPr marL="0" indent="0">
              <a:buNone/>
            </a:pPr>
            <a:r>
              <a:rPr lang="da-DK" altLang="da-DK" sz="900" dirty="0">
                <a:latin typeface="+mn-lt"/>
              </a:rPr>
              <a:t>Danmark bør fokusere på kendt teknologi til målopfyldelse, men også udvikle teknologier som opskaleres voldsomt efter 2030. F.eks. gennem</a:t>
            </a:r>
            <a:r>
              <a:rPr lang="da-DK" sz="900" dirty="0">
                <a:latin typeface="+mn-lt"/>
              </a:rPr>
              <a:t> EUDP, som har erfaring for at være bindeled mellem delvist kendt teknologi og ny teknologi, og at skabe job og virksomheder.</a:t>
            </a:r>
            <a:endParaRPr lang="da-DK" altLang="da-DK" sz="900" dirty="0">
              <a:latin typeface="+mn-lt"/>
            </a:endParaRPr>
          </a:p>
          <a:p>
            <a:pPr>
              <a:buFontTx/>
              <a:buChar char="-"/>
            </a:pPr>
            <a:r>
              <a:rPr lang="da-DK" sz="900" dirty="0">
                <a:latin typeface="+mn-lt"/>
                <a:ea typeface="Calibri" panose="020F0502020204030204" pitchFamily="34" charset="0"/>
                <a:cs typeface="Times New Roman" panose="02020603050405020304" pitchFamily="18" charset="0"/>
              </a:rPr>
              <a:t>Fokus på at verden efterlyser systemer (det kan vi vise). Systemeksport betyder, at rollerne for de forskellige teknologier skal være klar. F.eks. elbiler slukker, næste generation fjernvarme i stedet for naturgas, elektrificering af industrien. </a:t>
            </a:r>
          </a:p>
          <a:p>
            <a:pPr>
              <a:buFontTx/>
              <a:buChar char="-"/>
            </a:pPr>
            <a:r>
              <a:rPr lang="da-DK" sz="900" dirty="0">
                <a:latin typeface="+mn-lt"/>
                <a:ea typeface="Calibri" panose="020F0502020204030204" pitchFamily="34" charset="0"/>
                <a:cs typeface="Times New Roman" panose="02020603050405020304" pitchFamily="18" charset="0"/>
              </a:rPr>
              <a:t>Fokus på eksport af styrketeknologier: vindmøller (land og </a:t>
            </a:r>
            <a:r>
              <a:rPr lang="da-DK" sz="900" dirty="0" err="1">
                <a:latin typeface="+mn-lt"/>
                <a:ea typeface="Calibri" panose="020F0502020204030204" pitchFamily="34" charset="0"/>
                <a:cs typeface="Times New Roman" panose="02020603050405020304" pitchFamily="18" charset="0"/>
              </a:rPr>
              <a:t>off-shore</a:t>
            </a:r>
            <a:r>
              <a:rPr lang="da-DK" sz="900" dirty="0">
                <a:latin typeface="+mn-lt"/>
                <a:ea typeface="Calibri" panose="020F0502020204030204" pitchFamily="34" charset="0"/>
                <a:cs typeface="Times New Roman" panose="02020603050405020304" pitchFamily="18" charset="0"/>
              </a:rPr>
              <a:t>), energieffektivitet i boliger, fjernvarme, affaldsforbrænding. Nye fokusområder kunne være elektrificering og CSP i industri, biogas, power2X brændsler og anlæg,  </a:t>
            </a:r>
            <a:r>
              <a:rPr lang="da-DK" sz="900" dirty="0" err="1">
                <a:latin typeface="+mn-lt"/>
                <a:ea typeface="Calibri" panose="020F0502020204030204" pitchFamily="34" charset="0"/>
                <a:cs typeface="Times New Roman" panose="02020603050405020304" pitchFamily="18" charset="0"/>
              </a:rPr>
              <a:t>geotermi</a:t>
            </a:r>
            <a:r>
              <a:rPr lang="da-DK" sz="900" dirty="0">
                <a:latin typeface="+mn-lt"/>
                <a:ea typeface="Calibri" panose="020F0502020204030204" pitchFamily="34" charset="0"/>
                <a:cs typeface="Times New Roman" panose="02020603050405020304" pitchFamily="18" charset="0"/>
              </a:rPr>
              <a:t> </a:t>
            </a:r>
          </a:p>
          <a:p>
            <a:pPr marL="257175" indent="-257175">
              <a:buFont typeface="Calibri" panose="020F0502020204030204" pitchFamily="34" charset="0"/>
              <a:buChar char="-"/>
            </a:pPr>
            <a:r>
              <a:rPr lang="da-DK" sz="900" dirty="0">
                <a:latin typeface="+mn-lt"/>
                <a:ea typeface="Calibri" panose="020F0502020204030204" pitchFamily="34" charset="0"/>
                <a:cs typeface="Times New Roman" panose="02020603050405020304" pitchFamily="18" charset="0"/>
              </a:rPr>
              <a:t>Klimadiplomati - viden og demonstrationsanlæg virker:</a:t>
            </a:r>
          </a:p>
          <a:p>
            <a:pPr marL="510779" lvl="1" indent="-257175">
              <a:buFont typeface="Calibri" panose="020F0502020204030204" pitchFamily="34" charset="0"/>
              <a:buChar char="-"/>
            </a:pPr>
            <a:r>
              <a:rPr lang="da-DK" sz="900" dirty="0">
                <a:latin typeface="+mn-lt"/>
                <a:ea typeface="Calibri" panose="020F0502020204030204" pitchFamily="34" charset="0"/>
                <a:cs typeface="Times New Roman" panose="02020603050405020304" pitchFamily="18" charset="0"/>
              </a:rPr>
              <a:t>Rådgivning centralt – embedsmand til embedsmand. Forståelse af at initiativer skal komme </a:t>
            </a:r>
            <a:r>
              <a:rPr lang="da-DK" sz="900" dirty="0" err="1">
                <a:latin typeface="+mn-lt"/>
                <a:ea typeface="Calibri" panose="020F0502020204030204" pitchFamily="34" charset="0"/>
                <a:cs typeface="Times New Roman" panose="02020603050405020304" pitchFamily="18" charset="0"/>
              </a:rPr>
              <a:t>bottom</a:t>
            </a:r>
            <a:r>
              <a:rPr lang="da-DK" sz="900" dirty="0">
                <a:latin typeface="+mn-lt"/>
                <a:ea typeface="Calibri" panose="020F0502020204030204" pitchFamily="34" charset="0"/>
                <a:cs typeface="Times New Roman" panose="02020603050405020304" pitchFamily="18" charset="0"/>
              </a:rPr>
              <a:t>-up og så lokalt som muligt.</a:t>
            </a:r>
          </a:p>
          <a:p>
            <a:pPr marL="510779" lvl="1" indent="-257175">
              <a:buFont typeface="Calibri" panose="020F0502020204030204" pitchFamily="34" charset="0"/>
              <a:buChar char="-"/>
            </a:pPr>
            <a:r>
              <a:rPr lang="da-DK" sz="900" dirty="0">
                <a:latin typeface="+mn-lt"/>
                <a:ea typeface="Calibri" panose="020F0502020204030204" pitchFamily="34" charset="0"/>
                <a:cs typeface="Times New Roman" panose="02020603050405020304" pitchFamily="18" charset="0"/>
              </a:rPr>
              <a:t>Eksport af rammevilkår mv. på styrkeområder som vindmøller, fjernvarme, boligisolering (lokalt VE, hvile-i-sig-selv)</a:t>
            </a:r>
            <a:endParaRPr lang="da-DK" sz="900" dirty="0">
              <a:latin typeface="+mn-lt"/>
            </a:endParaRPr>
          </a:p>
          <a:p>
            <a:pPr marL="510779" lvl="1" indent="-257175">
              <a:buFont typeface="Calibri" panose="020F0502020204030204" pitchFamily="34" charset="0"/>
              <a:buChar char="-"/>
            </a:pPr>
            <a:r>
              <a:rPr lang="da-DK" sz="900" dirty="0">
                <a:latin typeface="+mn-lt"/>
                <a:ea typeface="Calibri" panose="020F0502020204030204" pitchFamily="34" charset="0"/>
                <a:cs typeface="Times New Roman" panose="02020603050405020304" pitchFamily="18" charset="0"/>
              </a:rPr>
              <a:t>Konkrete investeringer i udlandet, som bibringer 5-10 gange de reduktioner vi laver herhjemme</a:t>
            </a:r>
          </a:p>
        </p:txBody>
      </p:sp>
      <p:sp>
        <p:nvSpPr>
          <p:cNvPr id="4" name="Pladsholder til slidenummer 3">
            <a:extLst>
              <a:ext uri="{FF2B5EF4-FFF2-40B4-BE49-F238E27FC236}">
                <a16:creationId xmlns:a16="http://schemas.microsoft.com/office/drawing/2014/main" id="{5064E14E-2FD3-478F-A53C-98B82F30B3F5}"/>
              </a:ext>
            </a:extLst>
          </p:cNvPr>
          <p:cNvSpPr>
            <a:spLocks noGrp="1"/>
          </p:cNvSpPr>
          <p:nvPr>
            <p:ph type="sldNum" sz="quarter" idx="4294967295"/>
          </p:nvPr>
        </p:nvSpPr>
        <p:spPr/>
        <p:txBody>
          <a:bodyPr/>
          <a:lstStyle/>
          <a:p>
            <a:endParaRPr lang="da-DK" dirty="0"/>
          </a:p>
        </p:txBody>
      </p:sp>
      <p:pic>
        <p:nvPicPr>
          <p:cNvPr id="5" name="Picture 18">
            <a:extLst>
              <a:ext uri="{FF2B5EF4-FFF2-40B4-BE49-F238E27FC236}">
                <a16:creationId xmlns:a16="http://schemas.microsoft.com/office/drawing/2014/main" id="{D958F979-6F45-48BD-8F34-2E5E8625DCB7}"/>
              </a:ext>
            </a:extLst>
          </p:cNvPr>
          <p:cNvPicPr>
            <a:picLocks noChangeAspect="1"/>
          </p:cNvPicPr>
          <p:nvPr/>
        </p:nvPicPr>
        <p:blipFill rotWithShape="1">
          <a:blip r:embed="rId3">
            <a:extLst>
              <a:ext uri="{28A0092B-C50C-407E-A947-70E740481C1C}">
                <a14:useLocalDpi xmlns:a14="http://schemas.microsoft.com/office/drawing/2010/main" val="0"/>
              </a:ext>
            </a:extLst>
          </a:blip>
          <a:srcRect l="4166" t="11285" r="4034" b="15571"/>
          <a:stretch/>
        </p:blipFill>
        <p:spPr bwMode="auto">
          <a:xfrm>
            <a:off x="7112973" y="3694998"/>
            <a:ext cx="1933487" cy="580761"/>
          </a:xfrm>
          <a:prstGeom prst="rect">
            <a:avLst/>
          </a:prstGeom>
          <a:ln>
            <a:noFill/>
          </a:ln>
          <a:extLst>
            <a:ext uri="{53640926-AAD7-44D8-BBD7-CCE9431645EC}">
              <a14:shadowObscured xmlns:a14="http://schemas.microsoft.com/office/drawing/2010/main"/>
            </a:ext>
          </a:extLst>
        </p:spPr>
      </p:pic>
      <p:pic>
        <p:nvPicPr>
          <p:cNvPr id="2050" name="Picture 2" descr="Logo">
            <a:extLst>
              <a:ext uri="{FF2B5EF4-FFF2-40B4-BE49-F238E27FC236}">
                <a16:creationId xmlns:a16="http://schemas.microsoft.com/office/drawing/2014/main" id="{E1B44CDF-038F-419E-A27D-F665F808831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18670" y="4414712"/>
            <a:ext cx="1827790" cy="548886"/>
          </a:xfrm>
          <a:prstGeom prst="rect">
            <a:avLst/>
          </a:prstGeom>
          <a:noFill/>
          <a:extLst>
            <a:ext uri="{909E8E84-426E-40DD-AFC4-6F175D3DCCD1}">
              <a14:hiddenFill xmlns:a14="http://schemas.microsoft.com/office/drawing/2010/main">
                <a:solidFill>
                  <a:srgbClr val="FFFFFF"/>
                </a:solidFill>
              </a14:hiddenFill>
            </a:ext>
          </a:extLst>
        </p:spPr>
      </p:pic>
      <p:pic>
        <p:nvPicPr>
          <p:cNvPr id="7" name="Billede 6">
            <a:extLst>
              <a:ext uri="{FF2B5EF4-FFF2-40B4-BE49-F238E27FC236}">
                <a16:creationId xmlns:a16="http://schemas.microsoft.com/office/drawing/2014/main" id="{ADEFC7DF-9FE8-4F21-A215-C61211FB81E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22234" y="3228039"/>
            <a:ext cx="1505077" cy="328006"/>
          </a:xfrm>
          <a:prstGeom prst="rect">
            <a:avLst/>
          </a:prstGeom>
        </p:spPr>
      </p:pic>
      <p:pic>
        <p:nvPicPr>
          <p:cNvPr id="8" name="Content Placeholder 4">
            <a:extLst>
              <a:ext uri="{FF2B5EF4-FFF2-40B4-BE49-F238E27FC236}">
                <a16:creationId xmlns:a16="http://schemas.microsoft.com/office/drawing/2014/main" id="{57AA5618-E549-4F27-AE28-38144926265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23362" y="1861119"/>
            <a:ext cx="1006641" cy="1069156"/>
          </a:xfrm>
          <a:prstGeom prst="rect">
            <a:avLst/>
          </a:prstGeom>
        </p:spPr>
      </p:pic>
      <p:sp>
        <p:nvSpPr>
          <p:cNvPr id="9" name="Titel 4">
            <a:extLst>
              <a:ext uri="{FF2B5EF4-FFF2-40B4-BE49-F238E27FC236}">
                <a16:creationId xmlns:a16="http://schemas.microsoft.com/office/drawing/2014/main" id="{AFB043D4-B897-4447-B63D-BF24496DBE12}"/>
              </a:ext>
            </a:extLst>
          </p:cNvPr>
          <p:cNvSpPr>
            <a:spLocks noGrp="1"/>
          </p:cNvSpPr>
          <p:nvPr>
            <p:ph type="title"/>
          </p:nvPr>
        </p:nvSpPr>
        <p:spPr>
          <a:xfrm>
            <a:off x="193016" y="563939"/>
            <a:ext cx="7886700" cy="994172"/>
          </a:xfrm>
        </p:spPr>
        <p:txBody>
          <a:bodyPr/>
          <a:lstStyle/>
          <a:p>
            <a:r>
              <a:rPr lang="da-DK" sz="2400" dirty="0"/>
              <a:t>Vi er nu i den 3. energikrise – EU/verden er dårligt rustet</a:t>
            </a:r>
          </a:p>
        </p:txBody>
      </p:sp>
    </p:spTree>
    <p:extLst>
      <p:ext uri="{BB962C8B-B14F-4D97-AF65-F5344CB8AC3E}">
        <p14:creationId xmlns:p14="http://schemas.microsoft.com/office/powerpoint/2010/main" val="40825682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descr="EURACOAL statistics | the voice of coal in Europe">
            <a:extLst>
              <a:ext uri="{FF2B5EF4-FFF2-40B4-BE49-F238E27FC236}">
                <a16:creationId xmlns:a16="http://schemas.microsoft.com/office/drawing/2014/main" id="{EC345B81-9B9A-487C-BBCE-FF9A6A1286C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18642" y="892097"/>
            <a:ext cx="5506684" cy="4130969"/>
          </a:xfrm>
          <a:prstGeom prst="rect">
            <a:avLst/>
          </a:prstGeom>
          <a:noFill/>
          <a:extLst>
            <a:ext uri="{909E8E84-426E-40DD-AFC4-6F175D3DCCD1}">
              <a14:hiddenFill xmlns:a14="http://schemas.microsoft.com/office/drawing/2010/main">
                <a:solidFill>
                  <a:srgbClr val="FFFFFF"/>
                </a:solidFill>
              </a14:hiddenFill>
            </a:ext>
          </a:extLst>
        </p:spPr>
      </p:pic>
      <p:sp>
        <p:nvSpPr>
          <p:cNvPr id="5" name="Titel 1">
            <a:extLst>
              <a:ext uri="{FF2B5EF4-FFF2-40B4-BE49-F238E27FC236}">
                <a16:creationId xmlns:a16="http://schemas.microsoft.com/office/drawing/2014/main" id="{1E3B2712-83B7-48A8-894F-673188BB4009}"/>
              </a:ext>
            </a:extLst>
          </p:cNvPr>
          <p:cNvSpPr>
            <a:spLocks noGrp="1"/>
          </p:cNvSpPr>
          <p:nvPr>
            <p:ph type="title"/>
          </p:nvPr>
        </p:nvSpPr>
        <p:spPr>
          <a:xfrm>
            <a:off x="196377" y="892097"/>
            <a:ext cx="2863518" cy="1461021"/>
          </a:xfrm>
        </p:spPr>
        <p:txBody>
          <a:bodyPr>
            <a:normAutofit/>
          </a:bodyPr>
          <a:lstStyle/>
          <a:p>
            <a:r>
              <a:rPr lang="da-DK" dirty="0"/>
              <a:t>Stor afhængighed af kul</a:t>
            </a:r>
          </a:p>
        </p:txBody>
      </p:sp>
    </p:spTree>
    <p:extLst>
      <p:ext uri="{BB962C8B-B14F-4D97-AF65-F5344CB8AC3E}">
        <p14:creationId xmlns:p14="http://schemas.microsoft.com/office/powerpoint/2010/main" val="32863175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920AB83-BFB2-4A3D-9B8B-A38F137F615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1" name="Object 10" hidden="1">
                        <a:extLst>
                          <a:ext uri="{FF2B5EF4-FFF2-40B4-BE49-F238E27FC236}">
                            <a16:creationId xmlns:a16="http://schemas.microsoft.com/office/drawing/2014/main" id="{E920AB83-BFB2-4A3D-9B8B-A38F137F615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Slide Number Placeholder 1"/>
          <p:cNvSpPr>
            <a:spLocks noGrp="1"/>
          </p:cNvSpPr>
          <p:nvPr>
            <p:ph type="sldNum" sz="quarter" idx="4"/>
          </p:nvPr>
        </p:nvSpPr>
        <p:spPr/>
        <p:txBody>
          <a:bodyPr/>
          <a:lstStyle/>
          <a:p>
            <a:fld id="{D8D877B3-D348-4611-9BDB-C5374591D951}" type="slidenum">
              <a:rPr lang="en-US" smtClean="0"/>
              <a:pPr/>
              <a:t>50</a:t>
            </a:fld>
            <a:endParaRPr lang="en-US" dirty="0"/>
          </a:p>
        </p:txBody>
      </p:sp>
      <p:sp>
        <p:nvSpPr>
          <p:cNvPr id="3" name="Title 2"/>
          <p:cNvSpPr>
            <a:spLocks noGrp="1"/>
          </p:cNvSpPr>
          <p:nvPr>
            <p:ph type="title"/>
          </p:nvPr>
        </p:nvSpPr>
        <p:spPr>
          <a:xfrm>
            <a:off x="424784" y="615290"/>
            <a:ext cx="3831431" cy="1105789"/>
          </a:xfrm>
        </p:spPr>
        <p:txBody>
          <a:bodyPr vert="horz"/>
          <a:lstStyle/>
          <a:p>
            <a:r>
              <a:rPr lang="da-DK" dirty="0"/>
              <a:t>Heating </a:t>
            </a:r>
            <a:r>
              <a:rPr lang="da-DK" dirty="0" err="1"/>
              <a:t>supply</a:t>
            </a:r>
            <a:endParaRPr lang="da-DK" dirty="0"/>
          </a:p>
        </p:txBody>
      </p:sp>
      <p:pic>
        <p:nvPicPr>
          <p:cNvPr id="6" name="Picture 5"/>
          <p:cNvPicPr>
            <a:picLocks noChangeAspect="1"/>
          </p:cNvPicPr>
          <p:nvPr/>
        </p:nvPicPr>
        <p:blipFill>
          <a:blip r:embed="rId6"/>
          <a:stretch>
            <a:fillRect/>
          </a:stretch>
        </p:blipFill>
        <p:spPr>
          <a:xfrm>
            <a:off x="4256557" y="1489443"/>
            <a:ext cx="4462659" cy="2647418"/>
          </a:xfrm>
          <a:prstGeom prst="rect">
            <a:avLst/>
          </a:prstGeom>
        </p:spPr>
      </p:pic>
      <p:sp>
        <p:nvSpPr>
          <p:cNvPr id="7" name="Rectangle 6"/>
          <p:cNvSpPr/>
          <p:nvPr/>
        </p:nvSpPr>
        <p:spPr>
          <a:xfrm>
            <a:off x="160956" y="1784892"/>
            <a:ext cx="3967010" cy="1616340"/>
          </a:xfrm>
          <a:prstGeom prst="rect">
            <a:avLst/>
          </a:prstGeom>
        </p:spPr>
        <p:txBody>
          <a:bodyPr wrap="square">
            <a:spAutoFit/>
          </a:bodyPr>
          <a:lstStyle/>
          <a:p>
            <a:pPr marL="471461" lvl="1" indent="-128588">
              <a:buFont typeface="Wingdings" panose="05000000000000000000" pitchFamily="2" charset="2"/>
              <a:buChar char="v"/>
            </a:pPr>
            <a:r>
              <a:rPr lang="en-US" sz="1013" dirty="0"/>
              <a:t> Heat demand in existing buildings should be reduced by approximately 40%</a:t>
            </a:r>
          </a:p>
          <a:p>
            <a:pPr lvl="1"/>
            <a:endParaRPr lang="en-US" sz="1013" dirty="0"/>
          </a:p>
          <a:p>
            <a:pPr marL="471461" lvl="1" indent="-128588">
              <a:buFont typeface="Wingdings" panose="05000000000000000000" pitchFamily="2" charset="2"/>
              <a:buChar char="v"/>
            </a:pPr>
            <a:r>
              <a:rPr lang="en-US" sz="1013" dirty="0"/>
              <a:t> If 50% of heat is supplied with district heating significant amount of excess heat can be integrated </a:t>
            </a:r>
          </a:p>
          <a:p>
            <a:pPr lvl="1"/>
            <a:endParaRPr lang="da-DK" sz="1013" dirty="0"/>
          </a:p>
          <a:p>
            <a:pPr marL="471461" lvl="1" indent="-128588">
              <a:buFont typeface="Wingdings" panose="05000000000000000000" pitchFamily="2" charset="2"/>
              <a:buChar char="v"/>
            </a:pPr>
            <a:r>
              <a:rPr lang="da-DK" sz="1013" dirty="0"/>
              <a:t> Total </a:t>
            </a:r>
            <a:r>
              <a:rPr lang="da-DK" sz="1013" dirty="0" err="1"/>
              <a:t>excess</a:t>
            </a:r>
            <a:r>
              <a:rPr lang="da-DK" sz="1013" dirty="0"/>
              <a:t> heat </a:t>
            </a:r>
            <a:r>
              <a:rPr lang="da-DK" sz="1013" dirty="0" err="1"/>
              <a:t>utilised</a:t>
            </a:r>
            <a:r>
              <a:rPr lang="da-DK" sz="1013" dirty="0"/>
              <a:t>: 360 </a:t>
            </a:r>
            <a:r>
              <a:rPr lang="da-DK" sz="1013" dirty="0" err="1"/>
              <a:t>TWh</a:t>
            </a:r>
            <a:r>
              <a:rPr lang="da-DK" sz="1013" dirty="0"/>
              <a:t> or </a:t>
            </a:r>
            <a:r>
              <a:rPr lang="da-DK" sz="1013" dirty="0" err="1"/>
              <a:t>about</a:t>
            </a:r>
            <a:r>
              <a:rPr lang="da-DK" sz="1013" dirty="0"/>
              <a:t> 1/3 of the </a:t>
            </a:r>
            <a:r>
              <a:rPr lang="da-DK" sz="1013" dirty="0" err="1"/>
              <a:t>available</a:t>
            </a:r>
            <a:endParaRPr lang="da-DK" sz="1013" dirty="0"/>
          </a:p>
          <a:p>
            <a:pPr marL="471461" lvl="1" indent="-128588">
              <a:buFont typeface="Arial" panose="020B0604020202020204" pitchFamily="34" charset="0"/>
              <a:buChar char="•"/>
            </a:pPr>
            <a:endParaRPr lang="en-US" sz="900" dirty="0"/>
          </a:p>
          <a:p>
            <a:pPr marL="471461" lvl="1" indent="-128588">
              <a:buFont typeface="Arial" panose="020B0604020202020204" pitchFamily="34" charset="0"/>
              <a:buChar char="•"/>
            </a:pPr>
            <a:endParaRPr lang="en-US" sz="900" dirty="0"/>
          </a:p>
        </p:txBody>
      </p:sp>
      <p:sp>
        <p:nvSpPr>
          <p:cNvPr id="8" name="TextBox 7"/>
          <p:cNvSpPr txBox="1"/>
          <p:nvPr/>
        </p:nvSpPr>
        <p:spPr>
          <a:xfrm>
            <a:off x="5000783" y="1299720"/>
            <a:ext cx="2974207" cy="248209"/>
          </a:xfrm>
          <a:prstGeom prst="rect">
            <a:avLst/>
          </a:prstGeom>
          <a:noFill/>
        </p:spPr>
        <p:txBody>
          <a:bodyPr wrap="square" rtlCol="0">
            <a:spAutoFit/>
          </a:bodyPr>
          <a:lstStyle/>
          <a:p>
            <a:r>
              <a:rPr lang="en-US" sz="1013" dirty="0"/>
              <a:t>Total heat demand by source of heat</a:t>
            </a:r>
            <a:endParaRPr lang="da-DK" sz="1013" dirty="0"/>
          </a:p>
        </p:txBody>
      </p:sp>
    </p:spTree>
    <p:extLst>
      <p:ext uri="{BB962C8B-B14F-4D97-AF65-F5344CB8AC3E}">
        <p14:creationId xmlns:p14="http://schemas.microsoft.com/office/powerpoint/2010/main" val="349796470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920AB83-BFB2-4A3D-9B8B-A38F137F615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Object 10" hidden="1">
                        <a:extLst>
                          <a:ext uri="{FF2B5EF4-FFF2-40B4-BE49-F238E27FC236}">
                            <a16:creationId xmlns:a16="http://schemas.microsoft.com/office/drawing/2014/main" id="{E920AB83-BFB2-4A3D-9B8B-A38F137F615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Slide Number Placeholder 1"/>
          <p:cNvSpPr>
            <a:spLocks noGrp="1"/>
          </p:cNvSpPr>
          <p:nvPr>
            <p:ph type="sldNum" sz="quarter" idx="4"/>
          </p:nvPr>
        </p:nvSpPr>
        <p:spPr/>
        <p:txBody>
          <a:bodyPr/>
          <a:lstStyle/>
          <a:p>
            <a:fld id="{D8D877B3-D348-4611-9BDB-C5374591D951}" type="slidenum">
              <a:rPr lang="en-US" smtClean="0"/>
              <a:pPr/>
              <a:t>51</a:t>
            </a:fld>
            <a:endParaRPr lang="en-US" dirty="0"/>
          </a:p>
        </p:txBody>
      </p:sp>
      <p:sp>
        <p:nvSpPr>
          <p:cNvPr id="3" name="Title 2"/>
          <p:cNvSpPr>
            <a:spLocks noGrp="1"/>
          </p:cNvSpPr>
          <p:nvPr>
            <p:ph type="title"/>
          </p:nvPr>
        </p:nvSpPr>
        <p:spPr/>
        <p:txBody>
          <a:bodyPr vert="horz"/>
          <a:lstStyle/>
          <a:p>
            <a:r>
              <a:rPr lang="da-DK" dirty="0"/>
              <a:t>Heating </a:t>
            </a:r>
            <a:r>
              <a:rPr lang="da-DK" dirty="0" err="1"/>
              <a:t>supply</a:t>
            </a:r>
            <a:endParaRPr lang="da-DK" dirty="0"/>
          </a:p>
        </p:txBody>
      </p:sp>
      <p:sp>
        <p:nvSpPr>
          <p:cNvPr id="9" name="TextBox 8"/>
          <p:cNvSpPr txBox="1"/>
          <p:nvPr/>
        </p:nvSpPr>
        <p:spPr>
          <a:xfrm>
            <a:off x="5282997" y="1333593"/>
            <a:ext cx="2974207" cy="248209"/>
          </a:xfrm>
          <a:prstGeom prst="rect">
            <a:avLst/>
          </a:prstGeom>
          <a:noFill/>
        </p:spPr>
        <p:txBody>
          <a:bodyPr wrap="square" rtlCol="0">
            <a:spAutoFit/>
          </a:bodyPr>
          <a:lstStyle/>
          <a:p>
            <a:r>
              <a:rPr lang="en-US" sz="1013" dirty="0"/>
              <a:t>District heating heat production</a:t>
            </a:r>
            <a:endParaRPr lang="da-DK" sz="1013" dirty="0"/>
          </a:p>
        </p:txBody>
      </p:sp>
      <p:pic>
        <p:nvPicPr>
          <p:cNvPr id="13" name="Picture 12">
            <a:extLst>
              <a:ext uri="{FF2B5EF4-FFF2-40B4-BE49-F238E27FC236}">
                <a16:creationId xmlns:a16="http://schemas.microsoft.com/office/drawing/2014/main" id="{BD4D1326-05FF-4DFE-95B5-5B0E3D2A56FB}"/>
              </a:ext>
            </a:extLst>
          </p:cNvPr>
          <p:cNvPicPr>
            <a:picLocks noChangeAspect="1"/>
          </p:cNvPicPr>
          <p:nvPr/>
        </p:nvPicPr>
        <p:blipFill>
          <a:blip r:embed="rId5"/>
          <a:stretch>
            <a:fillRect/>
          </a:stretch>
        </p:blipFill>
        <p:spPr>
          <a:xfrm>
            <a:off x="4430100" y="1487486"/>
            <a:ext cx="4382094" cy="2716004"/>
          </a:xfrm>
          <a:prstGeom prst="rect">
            <a:avLst/>
          </a:prstGeom>
        </p:spPr>
      </p:pic>
      <p:sp>
        <p:nvSpPr>
          <p:cNvPr id="8" name="Rectangle 7"/>
          <p:cNvSpPr/>
          <p:nvPr/>
        </p:nvSpPr>
        <p:spPr>
          <a:xfrm>
            <a:off x="160956" y="1784892"/>
            <a:ext cx="3967010" cy="1616340"/>
          </a:xfrm>
          <a:prstGeom prst="rect">
            <a:avLst/>
          </a:prstGeom>
        </p:spPr>
        <p:txBody>
          <a:bodyPr wrap="square">
            <a:spAutoFit/>
          </a:bodyPr>
          <a:lstStyle/>
          <a:p>
            <a:pPr marL="471461" lvl="1" indent="-128588">
              <a:buFont typeface="Wingdings" panose="05000000000000000000" pitchFamily="2" charset="2"/>
              <a:buChar char="v"/>
            </a:pPr>
            <a:r>
              <a:rPr lang="en-US" sz="1013" dirty="0"/>
              <a:t> Heat demand in existing buildings should be reduced by approximately 40%</a:t>
            </a:r>
          </a:p>
          <a:p>
            <a:pPr lvl="1"/>
            <a:endParaRPr lang="en-US" sz="1013" dirty="0"/>
          </a:p>
          <a:p>
            <a:pPr marL="471461" lvl="1" indent="-128588">
              <a:buFont typeface="Wingdings" panose="05000000000000000000" pitchFamily="2" charset="2"/>
              <a:buChar char="v"/>
            </a:pPr>
            <a:r>
              <a:rPr lang="en-US" sz="1013" dirty="0"/>
              <a:t> If 50% of heat is supplied with district heating significant amount of excess heat can be integrated </a:t>
            </a:r>
          </a:p>
          <a:p>
            <a:pPr lvl="1"/>
            <a:endParaRPr lang="da-DK" sz="1013" dirty="0"/>
          </a:p>
          <a:p>
            <a:pPr marL="471461" lvl="1" indent="-128588">
              <a:buFont typeface="Wingdings" panose="05000000000000000000" pitchFamily="2" charset="2"/>
              <a:buChar char="v"/>
            </a:pPr>
            <a:r>
              <a:rPr lang="da-DK" sz="1013" dirty="0"/>
              <a:t> Total </a:t>
            </a:r>
            <a:r>
              <a:rPr lang="da-DK" sz="1013" dirty="0" err="1"/>
              <a:t>excess</a:t>
            </a:r>
            <a:r>
              <a:rPr lang="da-DK" sz="1013" dirty="0"/>
              <a:t> heat </a:t>
            </a:r>
            <a:r>
              <a:rPr lang="da-DK" sz="1013" dirty="0" err="1"/>
              <a:t>utilised</a:t>
            </a:r>
            <a:r>
              <a:rPr lang="da-DK" sz="1013" dirty="0"/>
              <a:t>: 360 </a:t>
            </a:r>
            <a:r>
              <a:rPr lang="da-DK" sz="1013" dirty="0" err="1"/>
              <a:t>TWh</a:t>
            </a:r>
            <a:r>
              <a:rPr lang="da-DK" sz="1013" dirty="0"/>
              <a:t> or </a:t>
            </a:r>
            <a:r>
              <a:rPr lang="da-DK" sz="1013" dirty="0" err="1"/>
              <a:t>about</a:t>
            </a:r>
            <a:r>
              <a:rPr lang="da-DK" sz="1013" dirty="0"/>
              <a:t> 1/3 of the </a:t>
            </a:r>
            <a:r>
              <a:rPr lang="da-DK" sz="1013" dirty="0" err="1"/>
              <a:t>available</a:t>
            </a:r>
            <a:endParaRPr lang="da-DK" sz="1013" dirty="0"/>
          </a:p>
          <a:p>
            <a:pPr marL="471461" lvl="1" indent="-128588">
              <a:buFont typeface="Arial" panose="020B0604020202020204" pitchFamily="34" charset="0"/>
              <a:buChar char="•"/>
            </a:pPr>
            <a:endParaRPr lang="en-US" sz="900" dirty="0"/>
          </a:p>
          <a:p>
            <a:pPr marL="471461" lvl="1" indent="-128588">
              <a:buFont typeface="Arial" panose="020B0604020202020204" pitchFamily="34" charset="0"/>
              <a:buChar char="•"/>
            </a:pPr>
            <a:endParaRPr lang="en-US" sz="900" dirty="0"/>
          </a:p>
        </p:txBody>
      </p:sp>
    </p:spTree>
    <p:extLst>
      <p:ext uri="{BB962C8B-B14F-4D97-AF65-F5344CB8AC3E}">
        <p14:creationId xmlns:p14="http://schemas.microsoft.com/office/powerpoint/2010/main" val="371061035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184925" y="764333"/>
            <a:ext cx="7886700" cy="994172"/>
          </a:xfrm>
        </p:spPr>
        <p:txBody>
          <a:bodyPr/>
          <a:lstStyle/>
          <a:p>
            <a:pPr eaLnBrk="1" hangingPunct="1"/>
            <a:r>
              <a:rPr lang="da-DK" altLang="da-DK" sz="3000" dirty="0"/>
              <a:t>3 a-kraft debatter i en</a:t>
            </a:r>
          </a:p>
        </p:txBody>
      </p:sp>
      <p:pic>
        <p:nvPicPr>
          <p:cNvPr id="4099" name="Picture 3" descr="dansk-energipolitik-7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93579" y="479296"/>
            <a:ext cx="647700" cy="97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0" name="Picture 4" descr="energiplan-8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84682" y="528042"/>
            <a:ext cx="684610" cy="97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1" name="Picture 5" descr="energi-200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71625" y="651273"/>
            <a:ext cx="758429" cy="1079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2" name="Picture 6" descr="skitse-til-alternativ-handlingsplan"/>
          <p:cNvPicPr>
            <a:picLocks noGrp="1" noChangeAspect="1" noChangeArrowheads="1"/>
          </p:cNvPicPr>
          <p:nvPr>
            <p:ph type="body" idx="1"/>
          </p:nvPr>
        </p:nvPicPr>
        <p:blipFill>
          <a:blip r:embed="rId5">
            <a:extLst>
              <a:ext uri="{28A0092B-C50C-407E-A947-70E740481C1C}">
                <a14:useLocalDpi xmlns:a14="http://schemas.microsoft.com/office/drawing/2010/main" val="0"/>
              </a:ext>
            </a:extLst>
          </a:blip>
          <a:srcRect/>
          <a:stretch>
            <a:fillRect/>
          </a:stretch>
        </p:blipFill>
        <p:spPr>
          <a:xfrm>
            <a:off x="6258942" y="2859215"/>
            <a:ext cx="663178" cy="101322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4103" name="Picture 7" descr="energi-for-fremtide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83888" y="3189216"/>
            <a:ext cx="783431" cy="12180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4" name="Picture 8" descr="energihandlingsplan-9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39344" y="2668259"/>
            <a:ext cx="742950" cy="1106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5" name="Picture 9" descr="Energi2000opfølgningen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19283" y="867832"/>
            <a:ext cx="795338" cy="1115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6" name="Picture 10" descr="demokrati-og-forandring-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249271" y="3305104"/>
            <a:ext cx="779859" cy="113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7" name="Picture 11" descr="green-energy-plan"/>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454328" y="2545097"/>
            <a:ext cx="740569" cy="1070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8" name="Picture 12" descr="energi-2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053088" y="1340578"/>
            <a:ext cx="802481" cy="113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9" name="Picture 13" descr="oplaeg-til-klimastrategi"/>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681264" y="1173362"/>
            <a:ext cx="752475" cy="1079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10" name="Rectangle 14"/>
          <p:cNvSpPr>
            <a:spLocks noChangeArrowheads="1"/>
          </p:cNvSpPr>
          <p:nvPr/>
        </p:nvSpPr>
        <p:spPr bwMode="auto">
          <a:xfrm>
            <a:off x="491070" y="1332362"/>
            <a:ext cx="4153188" cy="2844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eaLnBrk="0" hangingPunct="0">
              <a:spcBef>
                <a:spcPct val="20000"/>
              </a:spcBef>
              <a:buChar char="•"/>
              <a:defRPr sz="2400">
                <a:solidFill>
                  <a:schemeClr val="bg2"/>
                </a:solidFill>
                <a:latin typeface="TrueGillSansOneBold" pitchFamily="2" charset="0"/>
              </a:defRPr>
            </a:lvl1pPr>
            <a:lvl2pPr marL="742950" indent="-285750" eaLnBrk="0" hangingPunct="0">
              <a:spcBef>
                <a:spcPct val="20000"/>
              </a:spcBef>
              <a:buChar char="–"/>
              <a:defRPr sz="2000">
                <a:solidFill>
                  <a:schemeClr val="bg2"/>
                </a:solidFill>
                <a:latin typeface="TrueGillSansOneBold" pitchFamily="2" charset="0"/>
              </a:defRPr>
            </a:lvl2pPr>
            <a:lvl3pPr marL="1143000" indent="-228600" eaLnBrk="0" hangingPunct="0">
              <a:spcBef>
                <a:spcPct val="20000"/>
              </a:spcBef>
              <a:buChar char="•"/>
              <a:defRPr sz="1600">
                <a:solidFill>
                  <a:schemeClr val="bg2"/>
                </a:solidFill>
                <a:latin typeface="TrueGillSansOneBold" pitchFamily="2" charset="0"/>
              </a:defRPr>
            </a:lvl3pPr>
            <a:lvl4pPr marL="1600200" indent="-228600" eaLnBrk="0" hangingPunct="0">
              <a:spcBef>
                <a:spcPct val="20000"/>
              </a:spcBef>
              <a:buChar char="–"/>
              <a:defRPr sz="1400">
                <a:solidFill>
                  <a:schemeClr val="bg2"/>
                </a:solidFill>
                <a:latin typeface="TrueGillSansOneBold" pitchFamily="2" charset="0"/>
              </a:defRPr>
            </a:lvl4pPr>
            <a:lvl5pPr marL="2057400" indent="-228600" eaLnBrk="0" hangingPunct="0">
              <a:spcBef>
                <a:spcPct val="20000"/>
              </a:spcBef>
              <a:buChar char="»"/>
              <a:defRPr sz="1400">
                <a:solidFill>
                  <a:schemeClr val="bg2"/>
                </a:solidFill>
                <a:latin typeface="TrueGillSansOneBold" pitchFamily="2" charset="0"/>
              </a:defRPr>
            </a:lvl5pPr>
            <a:lvl6pPr marL="2514600" indent="-228600" eaLnBrk="0" fontAlgn="base" hangingPunct="0">
              <a:spcBef>
                <a:spcPct val="20000"/>
              </a:spcBef>
              <a:spcAft>
                <a:spcPct val="0"/>
              </a:spcAft>
              <a:buChar char="»"/>
              <a:defRPr sz="1400">
                <a:solidFill>
                  <a:schemeClr val="bg2"/>
                </a:solidFill>
                <a:latin typeface="TrueGillSansOneBold" pitchFamily="2" charset="0"/>
              </a:defRPr>
            </a:lvl6pPr>
            <a:lvl7pPr marL="2971800" indent="-228600" eaLnBrk="0" fontAlgn="base" hangingPunct="0">
              <a:spcBef>
                <a:spcPct val="20000"/>
              </a:spcBef>
              <a:spcAft>
                <a:spcPct val="0"/>
              </a:spcAft>
              <a:buChar char="»"/>
              <a:defRPr sz="1400">
                <a:solidFill>
                  <a:schemeClr val="bg2"/>
                </a:solidFill>
                <a:latin typeface="TrueGillSansOneBold" pitchFamily="2" charset="0"/>
              </a:defRPr>
            </a:lvl7pPr>
            <a:lvl8pPr marL="3429000" indent="-228600" eaLnBrk="0" fontAlgn="base" hangingPunct="0">
              <a:spcBef>
                <a:spcPct val="20000"/>
              </a:spcBef>
              <a:spcAft>
                <a:spcPct val="0"/>
              </a:spcAft>
              <a:buChar char="»"/>
              <a:defRPr sz="1400">
                <a:solidFill>
                  <a:schemeClr val="bg2"/>
                </a:solidFill>
                <a:latin typeface="TrueGillSansOneBold" pitchFamily="2" charset="0"/>
              </a:defRPr>
            </a:lvl8pPr>
            <a:lvl9pPr marL="3886200" indent="-228600" eaLnBrk="0" fontAlgn="base" hangingPunct="0">
              <a:spcBef>
                <a:spcPct val="20000"/>
              </a:spcBef>
              <a:spcAft>
                <a:spcPct val="0"/>
              </a:spcAft>
              <a:buChar char="»"/>
              <a:defRPr sz="1400">
                <a:solidFill>
                  <a:schemeClr val="bg2"/>
                </a:solidFill>
                <a:latin typeface="TrueGillSansOneBold" pitchFamily="2" charset="0"/>
              </a:defRPr>
            </a:lvl9pPr>
          </a:lstStyle>
          <a:p>
            <a:pPr marL="0" indent="0">
              <a:buNone/>
            </a:pPr>
            <a:endParaRPr lang="da-DK" sz="1350" dirty="0">
              <a:solidFill>
                <a:srgbClr val="000000"/>
              </a:solidFill>
              <a:latin typeface="Calibri" panose="020F0502020204030204" pitchFamily="34" charset="0"/>
            </a:endParaRPr>
          </a:p>
          <a:p>
            <a:pPr marL="457200" indent="-457200" eaLnBrk="1" hangingPunct="1">
              <a:buFontTx/>
              <a:buAutoNum type="arabicPeriod"/>
            </a:pPr>
            <a:r>
              <a:rPr lang="da-DK" altLang="da-DK" sz="2100" dirty="0">
                <a:solidFill>
                  <a:schemeClr val="tx1"/>
                </a:solidFill>
              </a:rPr>
              <a:t>Levetidsforlængelser</a:t>
            </a:r>
          </a:p>
          <a:p>
            <a:pPr marL="400050" lvl="1" indent="0" eaLnBrk="1" hangingPunct="1">
              <a:buNone/>
            </a:pPr>
            <a:r>
              <a:rPr lang="da-DK" altLang="da-DK" sz="1700" dirty="0">
                <a:solidFill>
                  <a:schemeClr val="tx1"/>
                </a:solidFill>
              </a:rPr>
              <a:t>Længere levetid på eksisterende anlæg</a:t>
            </a:r>
          </a:p>
          <a:p>
            <a:pPr marL="457200" indent="-457200" eaLnBrk="1" hangingPunct="1">
              <a:buFontTx/>
              <a:buAutoNum type="arabicPeriod"/>
            </a:pPr>
            <a:r>
              <a:rPr lang="da-DK" altLang="da-DK" sz="2100" dirty="0">
                <a:solidFill>
                  <a:schemeClr val="tx1"/>
                </a:solidFill>
              </a:rPr>
              <a:t>A-kraft vi kan købe nu…!!</a:t>
            </a:r>
          </a:p>
          <a:p>
            <a:pPr marL="400050" lvl="1" indent="0" eaLnBrk="1" hangingPunct="1">
              <a:buNone/>
            </a:pPr>
            <a:r>
              <a:rPr lang="da-DK" altLang="da-DK" sz="1800" dirty="0">
                <a:solidFill>
                  <a:schemeClr val="tx1"/>
                </a:solidFill>
              </a:rPr>
              <a:t>…. Det som nu bygges i Finland og England</a:t>
            </a:r>
            <a:endParaRPr lang="da-DK" altLang="da-DK" sz="1700" dirty="0">
              <a:solidFill>
                <a:schemeClr val="tx1"/>
              </a:solidFill>
            </a:endParaRPr>
          </a:p>
          <a:p>
            <a:pPr marL="457200" indent="-457200" eaLnBrk="1" hangingPunct="1">
              <a:buFontTx/>
              <a:buAutoNum type="arabicPeriod"/>
            </a:pPr>
            <a:r>
              <a:rPr lang="da-DK" altLang="da-DK" sz="2100" dirty="0">
                <a:solidFill>
                  <a:schemeClr val="tx1"/>
                </a:solidFill>
              </a:rPr>
              <a:t>A-kraft vi måske kan købe engang i fremtiden…!!</a:t>
            </a:r>
          </a:p>
          <a:p>
            <a:pPr marL="400050" lvl="1" indent="0" eaLnBrk="1" hangingPunct="1">
              <a:buNone/>
            </a:pPr>
            <a:r>
              <a:rPr lang="da-DK" altLang="da-DK" sz="1800" dirty="0">
                <a:solidFill>
                  <a:schemeClr val="tx1"/>
                </a:solidFill>
              </a:rPr>
              <a:t>….</a:t>
            </a:r>
            <a:r>
              <a:rPr lang="da-DK" altLang="da-DK" sz="1800" dirty="0" err="1">
                <a:solidFill>
                  <a:schemeClr val="tx1"/>
                </a:solidFill>
              </a:rPr>
              <a:t>Seaborg</a:t>
            </a:r>
            <a:r>
              <a:rPr lang="da-DK" altLang="da-DK" sz="1800" dirty="0">
                <a:solidFill>
                  <a:schemeClr val="tx1"/>
                </a:solidFill>
              </a:rPr>
              <a:t> </a:t>
            </a:r>
            <a:r>
              <a:rPr lang="da-DK" altLang="da-DK" sz="1800" dirty="0" err="1">
                <a:solidFill>
                  <a:schemeClr val="tx1"/>
                </a:solidFill>
              </a:rPr>
              <a:t>Technology’s</a:t>
            </a:r>
            <a:r>
              <a:rPr lang="da-DK" altLang="da-DK" sz="1800" dirty="0">
                <a:solidFill>
                  <a:schemeClr val="tx1"/>
                </a:solidFill>
              </a:rPr>
              <a:t> 4. generations værker..</a:t>
            </a:r>
          </a:p>
          <a:p>
            <a:pPr marL="857250" lvl="1" indent="-457200" eaLnBrk="1" hangingPunct="1">
              <a:buFontTx/>
              <a:buAutoNum type="arabicPeriod"/>
            </a:pPr>
            <a:endParaRPr lang="da-DK" altLang="da-DK" sz="1700" dirty="0">
              <a:solidFill>
                <a:schemeClr val="tx1"/>
              </a:solidFill>
            </a:endParaRPr>
          </a:p>
          <a:p>
            <a:pPr marL="457200" indent="-457200" eaLnBrk="1" hangingPunct="1">
              <a:buFontTx/>
              <a:buAutoNum type="arabicPeriod"/>
            </a:pPr>
            <a:endParaRPr lang="da-DK" altLang="da-DK" sz="2100" dirty="0">
              <a:solidFill>
                <a:schemeClr val="tx1"/>
              </a:solidFill>
            </a:endParaRPr>
          </a:p>
          <a:p>
            <a:pPr eaLnBrk="1" hangingPunct="1">
              <a:buFontTx/>
              <a:buNone/>
            </a:pPr>
            <a:endParaRPr lang="da-DK" altLang="da-DK" sz="2100" dirty="0">
              <a:solidFill>
                <a:schemeClr val="tx1"/>
              </a:solidFill>
            </a:endParaRPr>
          </a:p>
          <a:p>
            <a:pPr eaLnBrk="1" hangingPunct="1">
              <a:buFontTx/>
              <a:buNone/>
            </a:pPr>
            <a:endParaRPr lang="da-DK" altLang="da-DK" sz="2100" dirty="0">
              <a:solidFill>
                <a:schemeClr val="tx1"/>
              </a:solidFill>
            </a:endParaRPr>
          </a:p>
          <a:p>
            <a:pPr eaLnBrk="1" hangingPunct="1">
              <a:buFontTx/>
              <a:buNone/>
            </a:pPr>
            <a:endParaRPr lang="da-DK" altLang="da-DK" sz="1800" dirty="0">
              <a:solidFill>
                <a:schemeClr val="tx1"/>
              </a:solidFill>
            </a:endParaRPr>
          </a:p>
          <a:p>
            <a:pPr eaLnBrk="1" hangingPunct="1">
              <a:buFontTx/>
              <a:buNone/>
            </a:pPr>
            <a:endParaRPr lang="en-GB" altLang="da-DK" sz="1800" dirty="0">
              <a:solidFill>
                <a:schemeClr val="tx1"/>
              </a:solidFill>
            </a:endParaRPr>
          </a:p>
        </p:txBody>
      </p:sp>
      <p:pic>
        <p:nvPicPr>
          <p:cNvPr id="15" name="Picture 3"/>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935759" y="3003445"/>
            <a:ext cx="750419" cy="106817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929393" y="1381367"/>
            <a:ext cx="731567" cy="104365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7" name="Billede 16"/>
          <p:cNvPicPr>
            <a:picLocks noChangeAspect="1"/>
          </p:cNvPicPr>
          <p:nvPr/>
        </p:nvPicPr>
        <p:blipFill>
          <a:blip r:embed="rId15"/>
          <a:stretch>
            <a:fillRect/>
          </a:stretch>
        </p:blipFill>
        <p:spPr>
          <a:xfrm>
            <a:off x="5359836" y="1141470"/>
            <a:ext cx="798457" cy="1135856"/>
          </a:xfrm>
          <a:prstGeom prst="rect">
            <a:avLst/>
          </a:prstGeom>
          <a:ln>
            <a:solidFill>
              <a:schemeClr val="tx1"/>
            </a:solidFill>
          </a:ln>
        </p:spPr>
      </p:pic>
      <p:pic>
        <p:nvPicPr>
          <p:cNvPr id="19" name="Billede 18">
            <a:extLst>
              <a:ext uri="{FF2B5EF4-FFF2-40B4-BE49-F238E27FC236}">
                <a16:creationId xmlns:a16="http://schemas.microsoft.com/office/drawing/2014/main" id="{91EAE4F9-F642-484E-96FE-686EF608210B}"/>
              </a:ext>
            </a:extLst>
          </p:cNvPr>
          <p:cNvPicPr>
            <a:picLocks noChangeAspect="1"/>
          </p:cNvPicPr>
          <p:nvPr/>
        </p:nvPicPr>
        <p:blipFill>
          <a:blip r:embed="rId16"/>
          <a:stretch>
            <a:fillRect/>
          </a:stretch>
        </p:blipFill>
        <p:spPr>
          <a:xfrm>
            <a:off x="4942566" y="2859215"/>
            <a:ext cx="1071051" cy="1513524"/>
          </a:xfrm>
          <a:prstGeom prst="rect">
            <a:avLst/>
          </a:prstGeom>
          <a:ln>
            <a:solidFill>
              <a:schemeClr val="tx1"/>
            </a:solidFill>
          </a:ln>
        </p:spPr>
      </p:pic>
      <p:pic>
        <p:nvPicPr>
          <p:cNvPr id="20" name="Billede 19">
            <a:extLst>
              <a:ext uri="{FF2B5EF4-FFF2-40B4-BE49-F238E27FC236}">
                <a16:creationId xmlns:a16="http://schemas.microsoft.com/office/drawing/2014/main" id="{BFB0293D-E80B-428F-9EE1-AC94BAD85B55}"/>
              </a:ext>
            </a:extLst>
          </p:cNvPr>
          <p:cNvPicPr>
            <a:picLocks noChangeAspect="1"/>
          </p:cNvPicPr>
          <p:nvPr/>
        </p:nvPicPr>
        <p:blipFill>
          <a:blip r:embed="rId17"/>
          <a:stretch>
            <a:fillRect/>
          </a:stretch>
        </p:blipFill>
        <p:spPr>
          <a:xfrm>
            <a:off x="5248742" y="1751336"/>
            <a:ext cx="645539" cy="911476"/>
          </a:xfrm>
          <a:prstGeom prst="rect">
            <a:avLst/>
          </a:prstGeom>
          <a:ln>
            <a:solidFill>
              <a:schemeClr val="tx1"/>
            </a:solidFill>
          </a:ln>
        </p:spPr>
      </p:pic>
    </p:spTree>
    <p:extLst>
      <p:ext uri="{BB962C8B-B14F-4D97-AF65-F5344CB8AC3E}">
        <p14:creationId xmlns:p14="http://schemas.microsoft.com/office/powerpoint/2010/main" val="233588613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Lazard.com | Levelized Cost Of Energy, Levelized Cost Of Storage, and  Levelized Cost Of Hydrogen">
            <a:extLst>
              <a:ext uri="{FF2B5EF4-FFF2-40B4-BE49-F238E27FC236}">
                <a16:creationId xmlns:a16="http://schemas.microsoft.com/office/drawing/2014/main" id="{2B03D02D-E1E1-4512-9CFA-B53AF2785A4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9250" y="0"/>
            <a:ext cx="8445500"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904768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635DCBF-C5EB-4604-8501-A2C8139E30C1}"/>
              </a:ext>
            </a:extLst>
          </p:cNvPr>
          <p:cNvSpPr>
            <a:spLocks noGrp="1"/>
          </p:cNvSpPr>
          <p:nvPr>
            <p:ph type="title"/>
          </p:nvPr>
        </p:nvSpPr>
        <p:spPr>
          <a:xfrm>
            <a:off x="266082" y="528465"/>
            <a:ext cx="7886700" cy="994172"/>
          </a:xfrm>
        </p:spPr>
        <p:txBody>
          <a:bodyPr/>
          <a:lstStyle/>
          <a:p>
            <a:r>
              <a:rPr lang="da-DK" dirty="0"/>
              <a:t>Den atomkraft vi kan købe nu?</a:t>
            </a:r>
          </a:p>
        </p:txBody>
      </p:sp>
      <p:sp>
        <p:nvSpPr>
          <p:cNvPr id="3" name="Pladsholder til indhold 2">
            <a:extLst>
              <a:ext uri="{FF2B5EF4-FFF2-40B4-BE49-F238E27FC236}">
                <a16:creationId xmlns:a16="http://schemas.microsoft.com/office/drawing/2014/main" id="{CA162A85-9C1A-4EF9-910C-8D22FC4694D4}"/>
              </a:ext>
            </a:extLst>
          </p:cNvPr>
          <p:cNvSpPr>
            <a:spLocks noGrp="1"/>
          </p:cNvSpPr>
          <p:nvPr>
            <p:ph sz="half" idx="1"/>
          </p:nvPr>
        </p:nvSpPr>
        <p:spPr>
          <a:xfrm>
            <a:off x="441216" y="1211164"/>
            <a:ext cx="4691659" cy="3263504"/>
          </a:xfrm>
        </p:spPr>
        <p:txBody>
          <a:bodyPr>
            <a:normAutofit fontScale="70000" lnSpcReduction="20000"/>
          </a:bodyPr>
          <a:lstStyle/>
          <a:p>
            <a:pPr marL="0" indent="0">
              <a:buNone/>
            </a:pPr>
            <a:r>
              <a:rPr lang="da-DK" dirty="0"/>
              <a:t>Prisen på A-kraft stiger og er nu højere end på vind og sol</a:t>
            </a:r>
          </a:p>
          <a:p>
            <a:pPr lvl="1"/>
            <a:r>
              <a:rPr lang="da-DK" dirty="0"/>
              <a:t>Årsag er primært </a:t>
            </a:r>
            <a:r>
              <a:rPr lang="da-DK" b="0" i="0" dirty="0">
                <a:solidFill>
                  <a:srgbClr val="202124"/>
                </a:solidFill>
                <a:effectLst/>
              </a:rPr>
              <a:t>stigende sikkerhedskrav til værkerne</a:t>
            </a:r>
          </a:p>
          <a:p>
            <a:pPr lvl="1"/>
            <a:endParaRPr lang="da-DK" dirty="0"/>
          </a:p>
          <a:p>
            <a:r>
              <a:rPr lang="da-DK" dirty="0" err="1"/>
              <a:t>Hinkley</a:t>
            </a:r>
            <a:r>
              <a:rPr lang="da-DK" dirty="0"/>
              <a:t> point C (3200 MW) (2026)</a:t>
            </a:r>
          </a:p>
          <a:p>
            <a:pPr lvl="1"/>
            <a:r>
              <a:rPr lang="da-DK" dirty="0"/>
              <a:t>Garanteret elpris på 92,5 £/MWh, ca. 800 </a:t>
            </a:r>
            <a:r>
              <a:rPr lang="da-DK" dirty="0" err="1"/>
              <a:t>kr</a:t>
            </a:r>
            <a:r>
              <a:rPr lang="da-DK" dirty="0"/>
              <a:t>/MWh ~ middel i Danmark er 550 </a:t>
            </a:r>
            <a:r>
              <a:rPr lang="da-DK" dirty="0" err="1"/>
              <a:t>kr</a:t>
            </a:r>
            <a:r>
              <a:rPr lang="da-DK" dirty="0"/>
              <a:t>/MWh i 2021</a:t>
            </a:r>
          </a:p>
          <a:p>
            <a:pPr lvl="1"/>
            <a:r>
              <a:rPr lang="da-DK" dirty="0"/>
              <a:t>Garanteret i 35 år.</a:t>
            </a:r>
          </a:p>
          <a:p>
            <a:pPr lvl="1"/>
            <a:r>
              <a:rPr lang="da-DK" b="0" i="0" dirty="0">
                <a:solidFill>
                  <a:srgbClr val="202122"/>
                </a:solidFill>
                <a:effectLst/>
              </a:rPr>
              <a:t>Stegt fra £18 til £22–23 mia.</a:t>
            </a:r>
          </a:p>
          <a:p>
            <a:pPr lvl="1"/>
            <a:r>
              <a:rPr lang="da-DK" dirty="0">
                <a:solidFill>
                  <a:srgbClr val="202122"/>
                </a:solidFill>
              </a:rPr>
              <a:t>27 Billion EUR / 3200 = 8.4 MEUR/MW</a:t>
            </a:r>
            <a:endParaRPr lang="da-DK" b="0" i="0" dirty="0">
              <a:solidFill>
                <a:srgbClr val="202122"/>
              </a:solidFill>
              <a:effectLst/>
            </a:endParaRPr>
          </a:p>
          <a:p>
            <a:pPr lvl="1"/>
            <a:endParaRPr lang="da-DK" dirty="0"/>
          </a:p>
          <a:p>
            <a:r>
              <a:rPr lang="da-DK" dirty="0" err="1"/>
              <a:t>Olkiluoto</a:t>
            </a:r>
            <a:r>
              <a:rPr lang="da-DK" dirty="0"/>
              <a:t> eksempel</a:t>
            </a:r>
          </a:p>
          <a:p>
            <a:pPr lvl="1"/>
            <a:r>
              <a:rPr lang="da-DK" dirty="0"/>
              <a:t>Unit 3 planlagt til start 2009, endnu ikke startet (2022 forventet)</a:t>
            </a:r>
          </a:p>
          <a:p>
            <a:pPr lvl="1"/>
            <a:r>
              <a:rPr lang="da-DK" dirty="0"/>
              <a:t>8,5 </a:t>
            </a:r>
            <a:r>
              <a:rPr lang="da-DK" dirty="0" err="1"/>
              <a:t>mia</a:t>
            </a:r>
            <a:r>
              <a:rPr lang="da-DK" dirty="0"/>
              <a:t> € </a:t>
            </a:r>
            <a:r>
              <a:rPr lang="da-DK" dirty="0" err="1"/>
              <a:t>sammelignet</a:t>
            </a:r>
            <a:r>
              <a:rPr lang="da-DK" dirty="0"/>
              <a:t> med 3 </a:t>
            </a:r>
            <a:r>
              <a:rPr lang="da-DK" dirty="0" err="1"/>
              <a:t>mia</a:t>
            </a:r>
            <a:r>
              <a:rPr lang="da-DK" dirty="0"/>
              <a:t> €</a:t>
            </a:r>
          </a:p>
          <a:p>
            <a:pPr lvl="1"/>
            <a:r>
              <a:rPr lang="da-DK" dirty="0"/>
              <a:t>8,5 </a:t>
            </a:r>
            <a:r>
              <a:rPr lang="da-DK" dirty="0" err="1"/>
              <a:t>miia</a:t>
            </a:r>
            <a:r>
              <a:rPr lang="da-DK" dirty="0"/>
              <a:t> EUR/1600 = 5,3 MEUR/MW</a:t>
            </a:r>
          </a:p>
          <a:p>
            <a:pPr marL="0" indent="0">
              <a:buNone/>
            </a:pPr>
            <a:endParaRPr lang="da-DK" dirty="0"/>
          </a:p>
          <a:p>
            <a:endParaRPr lang="da-DK" dirty="0"/>
          </a:p>
          <a:p>
            <a:pPr lvl="1"/>
            <a:endParaRPr lang="da-DK" dirty="0"/>
          </a:p>
          <a:p>
            <a:endParaRPr lang="da-DK" dirty="0"/>
          </a:p>
        </p:txBody>
      </p:sp>
      <p:pic>
        <p:nvPicPr>
          <p:cNvPr id="13314" name="Picture 2" descr="Energy prices according to type of energy used">
            <a:extLst>
              <a:ext uri="{FF2B5EF4-FFF2-40B4-BE49-F238E27FC236}">
                <a16:creationId xmlns:a16="http://schemas.microsoft.com/office/drawing/2014/main" id="{684972F1-9C12-4BB4-B95C-FD4FCEF60DDA}"/>
              </a:ext>
            </a:extLst>
          </p:cNvPr>
          <p:cNvPicPr>
            <a:picLocks noGrp="1" noChangeAspect="1" noChangeArrowheads="1"/>
          </p:cNvPicPr>
          <p:nvPr>
            <p:ph sz="half" idx="2"/>
          </p:nvPr>
        </p:nvPicPr>
        <p:blipFill>
          <a:blip r:embed="rId2" cstate="print">
            <a:extLst>
              <a:ext uri="{28A0092B-C50C-407E-A947-70E740481C1C}">
                <a14:useLocalDpi xmlns:a14="http://schemas.microsoft.com/office/drawing/2010/main" val="0"/>
              </a:ext>
            </a:extLst>
          </a:blip>
          <a:srcRect/>
          <a:stretch>
            <a:fillRect/>
          </a:stretch>
        </p:blipFill>
        <p:spPr bwMode="auto">
          <a:xfrm>
            <a:off x="5895469" y="939998"/>
            <a:ext cx="2807315" cy="3263504"/>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2AE52F11-E9D1-4E80-B01D-863099994F9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86199" y="3744767"/>
            <a:ext cx="1174071" cy="65967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inkley Point C Construction site">
            <a:extLst>
              <a:ext uri="{FF2B5EF4-FFF2-40B4-BE49-F238E27FC236}">
                <a16:creationId xmlns:a16="http://schemas.microsoft.com/office/drawing/2014/main" id="{4D12F0AC-0451-4EBB-BFCE-977BF08A0C1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46429" y="2421302"/>
            <a:ext cx="1213841" cy="682786"/>
          </a:xfrm>
          <a:prstGeom prst="rect">
            <a:avLst/>
          </a:prstGeom>
          <a:noFill/>
          <a:extLst>
            <a:ext uri="{909E8E84-426E-40DD-AFC4-6F175D3DCCD1}">
              <a14:hiddenFill xmlns:a14="http://schemas.microsoft.com/office/drawing/2010/main">
                <a:solidFill>
                  <a:srgbClr val="FFFFFF"/>
                </a:solidFill>
              </a14:hiddenFill>
            </a:ext>
          </a:extLst>
        </p:spPr>
      </p:pic>
      <p:sp>
        <p:nvSpPr>
          <p:cNvPr id="7" name="Tekstfelt 6">
            <a:extLst>
              <a:ext uri="{FF2B5EF4-FFF2-40B4-BE49-F238E27FC236}">
                <a16:creationId xmlns:a16="http://schemas.microsoft.com/office/drawing/2014/main" id="{6D47A61D-50D4-4B1A-9067-4E45A4ABA0E3}"/>
              </a:ext>
            </a:extLst>
          </p:cNvPr>
          <p:cNvSpPr txBox="1"/>
          <p:nvPr/>
        </p:nvSpPr>
        <p:spPr>
          <a:xfrm>
            <a:off x="5816821" y="4178837"/>
            <a:ext cx="4572000" cy="923330"/>
          </a:xfrm>
          <a:prstGeom prst="rect">
            <a:avLst/>
          </a:prstGeom>
          <a:noFill/>
        </p:spPr>
        <p:txBody>
          <a:bodyPr wrap="square">
            <a:spAutoFit/>
          </a:bodyPr>
          <a:lstStyle/>
          <a:p>
            <a:r>
              <a:rPr lang="da-DK" b="0" i="0" dirty="0">
                <a:solidFill>
                  <a:srgbClr val="0F1419"/>
                </a:solidFill>
                <a:effectLst/>
                <a:latin typeface="TwitterChirp"/>
              </a:rPr>
              <a:t>IEA: A-kraft er 2-3x dyrere end sol og vind </a:t>
            </a:r>
          </a:p>
          <a:p>
            <a:r>
              <a:rPr lang="da-DK" b="0" i="0" dirty="0">
                <a:solidFill>
                  <a:srgbClr val="0F1419"/>
                </a:solidFill>
                <a:effectLst/>
                <a:latin typeface="TwitterChirp"/>
              </a:rPr>
              <a:t>EIA: A-kraft er ~2x dyrere end sol og vind </a:t>
            </a:r>
          </a:p>
          <a:p>
            <a:r>
              <a:rPr lang="da-DK" b="0" i="0" dirty="0">
                <a:solidFill>
                  <a:srgbClr val="0F1419"/>
                </a:solidFill>
                <a:effectLst/>
                <a:latin typeface="TwitterChirp"/>
              </a:rPr>
              <a:t>BNEF: A-kraft er 2-3x dyrere end sol og vind </a:t>
            </a:r>
          </a:p>
          <a:p>
            <a:r>
              <a:rPr lang="da-DK" b="0" i="0" dirty="0" err="1">
                <a:solidFill>
                  <a:srgbClr val="0F1419"/>
                </a:solidFill>
                <a:effectLst/>
                <a:latin typeface="TwitterChirp"/>
              </a:rPr>
              <a:t>Lazard</a:t>
            </a:r>
            <a:r>
              <a:rPr lang="da-DK" b="0" i="0" dirty="0">
                <a:solidFill>
                  <a:srgbClr val="0F1419"/>
                </a:solidFill>
                <a:effectLst/>
                <a:latin typeface="TwitterChirp"/>
              </a:rPr>
              <a:t>: 4-5!</a:t>
            </a:r>
            <a:endParaRPr lang="da-DK" dirty="0"/>
          </a:p>
        </p:txBody>
      </p:sp>
    </p:spTree>
    <p:extLst>
      <p:ext uri="{BB962C8B-B14F-4D97-AF65-F5344CB8AC3E}">
        <p14:creationId xmlns:p14="http://schemas.microsoft.com/office/powerpoint/2010/main" val="64474325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lede 3">
            <a:extLst>
              <a:ext uri="{FF2B5EF4-FFF2-40B4-BE49-F238E27FC236}">
                <a16:creationId xmlns:a16="http://schemas.microsoft.com/office/drawing/2014/main" id="{D94E8C9D-B338-4ECC-8D27-3A417E9DAB19}"/>
              </a:ext>
            </a:extLst>
          </p:cNvPr>
          <p:cNvPicPr>
            <a:picLocks noChangeAspect="1"/>
          </p:cNvPicPr>
          <p:nvPr/>
        </p:nvPicPr>
        <p:blipFill>
          <a:blip r:embed="rId2"/>
          <a:stretch>
            <a:fillRect/>
          </a:stretch>
        </p:blipFill>
        <p:spPr>
          <a:xfrm>
            <a:off x="12246" y="1741035"/>
            <a:ext cx="5266479" cy="3354356"/>
          </a:xfrm>
          <a:prstGeom prst="rect">
            <a:avLst/>
          </a:prstGeom>
        </p:spPr>
      </p:pic>
      <p:sp>
        <p:nvSpPr>
          <p:cNvPr id="5" name="Titel 4"/>
          <p:cNvSpPr>
            <a:spLocks noGrp="1"/>
          </p:cNvSpPr>
          <p:nvPr>
            <p:ph type="title"/>
          </p:nvPr>
        </p:nvSpPr>
        <p:spPr>
          <a:xfrm>
            <a:off x="294113" y="852449"/>
            <a:ext cx="7886700" cy="994172"/>
          </a:xfrm>
        </p:spPr>
        <p:txBody>
          <a:bodyPr/>
          <a:lstStyle/>
          <a:p>
            <a:r>
              <a:rPr lang="da-DK" dirty="0"/>
              <a:t>CO2 - Udfordringen</a:t>
            </a:r>
          </a:p>
        </p:txBody>
      </p:sp>
      <p:sp>
        <p:nvSpPr>
          <p:cNvPr id="8" name="Tekstfelt 7"/>
          <p:cNvSpPr txBox="1"/>
          <p:nvPr/>
        </p:nvSpPr>
        <p:spPr>
          <a:xfrm>
            <a:off x="5059067" y="822125"/>
            <a:ext cx="4264004" cy="2331407"/>
          </a:xfrm>
          <a:prstGeom prst="rect">
            <a:avLst/>
          </a:prstGeom>
          <a:noFill/>
        </p:spPr>
        <p:txBody>
          <a:bodyPr wrap="square" rtlCol="0">
            <a:spAutoFit/>
          </a:bodyPr>
          <a:lstStyle/>
          <a:p>
            <a:r>
              <a:rPr lang="da-DK" sz="1200" dirty="0"/>
              <a:t>Status 2019: cirka 46,7 mio. ton CO2-eq (fald på 4,9 fra 2018). Reduktion pr år cirka 1,0 mio. ton CO2-eq pr år</a:t>
            </a:r>
          </a:p>
          <a:p>
            <a:endParaRPr lang="da-DK" sz="1200" dirty="0"/>
          </a:p>
          <a:p>
            <a:r>
              <a:rPr lang="da-DK" sz="1200" dirty="0"/>
              <a:t>2030 målsætningen på 70%:</a:t>
            </a:r>
          </a:p>
          <a:p>
            <a:pPr marL="285750" indent="-285750">
              <a:buFontTx/>
              <a:buChar char="-"/>
            </a:pPr>
            <a:r>
              <a:rPr lang="da-DK" sz="1200" dirty="0"/>
              <a:t>Mål: Fra 77,4 til 23,2 i mio. ton CO2-eq (uden fly ekstrabidrag)</a:t>
            </a:r>
          </a:p>
          <a:p>
            <a:pPr marL="285750" indent="-285750">
              <a:buFontTx/>
              <a:buChar char="-"/>
            </a:pPr>
            <a:r>
              <a:rPr lang="da-DK" sz="1200" dirty="0"/>
              <a:t>Reduktion pr år </a:t>
            </a:r>
            <a:r>
              <a:rPr lang="da-DK" sz="1200" b="1" dirty="0"/>
              <a:t>2,1 mio. ton CO2-eq </a:t>
            </a:r>
            <a:r>
              <a:rPr lang="da-DK" sz="1200" dirty="0"/>
              <a:t>fra 2019 (sats på et mål på 20 mio. ton CO2-eq, da noget måske fejler)</a:t>
            </a:r>
          </a:p>
          <a:p>
            <a:pPr marL="285750" indent="-285750">
              <a:buFontTx/>
              <a:buChar char="-"/>
            </a:pPr>
            <a:endParaRPr lang="da-DK" sz="1200" dirty="0"/>
          </a:p>
          <a:p>
            <a:r>
              <a:rPr lang="da-DK" sz="1200" dirty="0"/>
              <a:t>2050 målsætningen netto nul:</a:t>
            </a:r>
          </a:p>
          <a:p>
            <a:pPr marL="285750" indent="-285750">
              <a:buFontTx/>
              <a:buChar char="-"/>
            </a:pPr>
            <a:r>
              <a:rPr lang="da-DK" sz="1200" dirty="0"/>
              <a:t>Reduktion pr år cirka </a:t>
            </a:r>
            <a:r>
              <a:rPr lang="da-DK" sz="1200" b="1" dirty="0"/>
              <a:t>1,1 mio. ton CO2-eq </a:t>
            </a:r>
            <a:r>
              <a:rPr lang="da-DK" sz="1200" dirty="0"/>
              <a:t>fra 2030</a:t>
            </a:r>
            <a:endParaRPr lang="da-DK" dirty="0"/>
          </a:p>
          <a:p>
            <a:endParaRPr lang="da-DK" dirty="0"/>
          </a:p>
        </p:txBody>
      </p:sp>
      <p:sp>
        <p:nvSpPr>
          <p:cNvPr id="13" name="Højrepil 12"/>
          <p:cNvSpPr/>
          <p:nvPr/>
        </p:nvSpPr>
        <p:spPr>
          <a:xfrm rot="10800000">
            <a:off x="5091766" y="4191357"/>
            <a:ext cx="228600" cy="9969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 name="Opsummeringspunkt 13"/>
          <p:cNvSpPr/>
          <p:nvPr/>
        </p:nvSpPr>
        <p:spPr>
          <a:xfrm>
            <a:off x="3442095" y="4184015"/>
            <a:ext cx="130175" cy="120650"/>
          </a:xfrm>
          <a:prstGeom prst="flowChartSummingJunction">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a-DK">
              <a:solidFill>
                <a:srgbClr val="FF0000"/>
              </a:solidFill>
            </a:endParaRPr>
          </a:p>
        </p:txBody>
      </p:sp>
      <p:sp>
        <p:nvSpPr>
          <p:cNvPr id="15" name="Tekstfelt 14"/>
          <p:cNvSpPr txBox="1"/>
          <p:nvPr/>
        </p:nvSpPr>
        <p:spPr>
          <a:xfrm>
            <a:off x="5320366" y="4110399"/>
            <a:ext cx="1851774" cy="261610"/>
          </a:xfrm>
          <a:prstGeom prst="rect">
            <a:avLst/>
          </a:prstGeom>
          <a:noFill/>
        </p:spPr>
        <p:txBody>
          <a:bodyPr wrap="square" rtlCol="0">
            <a:spAutoFit/>
          </a:bodyPr>
          <a:lstStyle/>
          <a:p>
            <a:r>
              <a:rPr lang="da-DK" sz="1100" dirty="0"/>
              <a:t>70% mål</a:t>
            </a:r>
          </a:p>
        </p:txBody>
      </p:sp>
      <p:sp>
        <p:nvSpPr>
          <p:cNvPr id="11" name="Tekstfelt 10">
            <a:extLst>
              <a:ext uri="{FF2B5EF4-FFF2-40B4-BE49-F238E27FC236}">
                <a16:creationId xmlns:a16="http://schemas.microsoft.com/office/drawing/2014/main" id="{7F2F6085-885C-4A31-9CCC-2CDA20E35181}"/>
              </a:ext>
            </a:extLst>
          </p:cNvPr>
          <p:cNvSpPr txBox="1"/>
          <p:nvPr/>
        </p:nvSpPr>
        <p:spPr>
          <a:xfrm>
            <a:off x="7172140" y="4797306"/>
            <a:ext cx="1931811" cy="300082"/>
          </a:xfrm>
          <a:prstGeom prst="rect">
            <a:avLst/>
          </a:prstGeom>
          <a:noFill/>
        </p:spPr>
        <p:txBody>
          <a:bodyPr wrap="none" rtlCol="0">
            <a:spAutoFit/>
          </a:bodyPr>
          <a:lstStyle/>
          <a:p>
            <a:r>
              <a:rPr lang="da-DK" dirty="0"/>
              <a:t>Klimafremskrivning 2021</a:t>
            </a:r>
          </a:p>
        </p:txBody>
      </p:sp>
    </p:spTree>
    <p:extLst>
      <p:ext uri="{BB962C8B-B14F-4D97-AF65-F5344CB8AC3E}">
        <p14:creationId xmlns:p14="http://schemas.microsoft.com/office/powerpoint/2010/main" val="9377529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65811" y="806734"/>
            <a:ext cx="2310493" cy="1636598"/>
          </a:xfrm>
        </p:spPr>
        <p:txBody>
          <a:bodyPr>
            <a:normAutofit/>
          </a:bodyPr>
          <a:lstStyle/>
          <a:p>
            <a:r>
              <a:rPr lang="da-DK" dirty="0"/>
              <a:t>Velkendte teknologier</a:t>
            </a:r>
          </a:p>
        </p:txBody>
      </p:sp>
      <p:pic>
        <p:nvPicPr>
          <p:cNvPr id="4" name="Billede 3"/>
          <p:cNvPicPr>
            <a:picLocks noChangeAspect="1"/>
          </p:cNvPicPr>
          <p:nvPr/>
        </p:nvPicPr>
        <p:blipFill>
          <a:blip r:embed="rId2"/>
          <a:stretch>
            <a:fillRect/>
          </a:stretch>
        </p:blipFill>
        <p:spPr>
          <a:xfrm>
            <a:off x="684907" y="2576174"/>
            <a:ext cx="1216919" cy="1718240"/>
          </a:xfrm>
          <a:prstGeom prst="rect">
            <a:avLst/>
          </a:prstGeom>
        </p:spPr>
      </p:pic>
      <p:pic>
        <p:nvPicPr>
          <p:cNvPr id="6" name="Billede 5"/>
          <p:cNvPicPr>
            <a:picLocks noChangeAspect="1"/>
          </p:cNvPicPr>
          <p:nvPr/>
        </p:nvPicPr>
        <p:blipFill>
          <a:blip r:embed="rId3"/>
          <a:stretch>
            <a:fillRect/>
          </a:stretch>
        </p:blipFill>
        <p:spPr>
          <a:xfrm>
            <a:off x="3028088" y="1091934"/>
            <a:ext cx="5493119" cy="3736891"/>
          </a:xfrm>
          <a:prstGeom prst="rect">
            <a:avLst/>
          </a:prstGeom>
        </p:spPr>
      </p:pic>
    </p:spTree>
    <p:extLst>
      <p:ext uri="{BB962C8B-B14F-4D97-AF65-F5344CB8AC3E}">
        <p14:creationId xmlns:p14="http://schemas.microsoft.com/office/powerpoint/2010/main" val="33395932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34736" y="882235"/>
            <a:ext cx="2310493" cy="1693939"/>
          </a:xfrm>
        </p:spPr>
        <p:txBody>
          <a:bodyPr>
            <a:normAutofit/>
          </a:bodyPr>
          <a:lstStyle/>
          <a:p>
            <a:br>
              <a:rPr lang="da-DK" sz="1500" b="1" dirty="0"/>
            </a:br>
            <a:r>
              <a:rPr lang="da-DK" dirty="0"/>
              <a:t>Nye delvist Velkendte teknologier</a:t>
            </a:r>
          </a:p>
        </p:txBody>
      </p:sp>
      <p:pic>
        <p:nvPicPr>
          <p:cNvPr id="4" name="Billede 3"/>
          <p:cNvPicPr>
            <a:picLocks noChangeAspect="1"/>
          </p:cNvPicPr>
          <p:nvPr/>
        </p:nvPicPr>
        <p:blipFill>
          <a:blip r:embed="rId2"/>
          <a:stretch>
            <a:fillRect/>
          </a:stretch>
        </p:blipFill>
        <p:spPr>
          <a:xfrm>
            <a:off x="635922" y="2641489"/>
            <a:ext cx="1216919" cy="1718240"/>
          </a:xfrm>
          <a:prstGeom prst="rect">
            <a:avLst/>
          </a:prstGeom>
        </p:spPr>
      </p:pic>
      <p:pic>
        <p:nvPicPr>
          <p:cNvPr id="3" name="Billede 2"/>
          <p:cNvPicPr>
            <a:picLocks noChangeAspect="1"/>
          </p:cNvPicPr>
          <p:nvPr/>
        </p:nvPicPr>
        <p:blipFill>
          <a:blip r:embed="rId3"/>
          <a:stretch>
            <a:fillRect/>
          </a:stretch>
        </p:blipFill>
        <p:spPr>
          <a:xfrm>
            <a:off x="2815103" y="934525"/>
            <a:ext cx="6175463" cy="2224427"/>
          </a:xfrm>
          <a:prstGeom prst="rect">
            <a:avLst/>
          </a:prstGeom>
        </p:spPr>
      </p:pic>
      <p:pic>
        <p:nvPicPr>
          <p:cNvPr id="5" name="Billede 4"/>
          <p:cNvPicPr>
            <a:picLocks noChangeAspect="1"/>
          </p:cNvPicPr>
          <p:nvPr/>
        </p:nvPicPr>
        <p:blipFill>
          <a:blip r:embed="rId4"/>
          <a:stretch>
            <a:fillRect/>
          </a:stretch>
        </p:blipFill>
        <p:spPr>
          <a:xfrm>
            <a:off x="2843211" y="3195712"/>
            <a:ext cx="6147355" cy="1269292"/>
          </a:xfrm>
          <a:prstGeom prst="rect">
            <a:avLst/>
          </a:prstGeom>
        </p:spPr>
      </p:pic>
    </p:spTree>
    <p:extLst>
      <p:ext uri="{BB962C8B-B14F-4D97-AF65-F5344CB8AC3E}">
        <p14:creationId xmlns:p14="http://schemas.microsoft.com/office/powerpoint/2010/main" val="284100482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a-DK" sz="1500" b="1" dirty="0"/>
              <a:t>Teknologiske udfordringer:</a:t>
            </a:r>
            <a:br>
              <a:rPr lang="da-DK" sz="1500" b="1" dirty="0"/>
            </a:br>
            <a:br>
              <a:rPr lang="da-DK" sz="1500" b="1" dirty="0"/>
            </a:br>
            <a:r>
              <a:rPr lang="da-DK" dirty="0"/>
              <a:t>Nye teknologier, der skal udvikles på</a:t>
            </a:r>
          </a:p>
        </p:txBody>
      </p:sp>
      <p:pic>
        <p:nvPicPr>
          <p:cNvPr id="4" name="Billede 3"/>
          <p:cNvPicPr>
            <a:picLocks noChangeAspect="1"/>
          </p:cNvPicPr>
          <p:nvPr/>
        </p:nvPicPr>
        <p:blipFill>
          <a:blip r:embed="rId2"/>
          <a:stretch>
            <a:fillRect/>
          </a:stretch>
        </p:blipFill>
        <p:spPr>
          <a:xfrm>
            <a:off x="624348" y="2114549"/>
            <a:ext cx="1216919" cy="1718240"/>
          </a:xfrm>
          <a:prstGeom prst="rect">
            <a:avLst/>
          </a:prstGeom>
        </p:spPr>
      </p:pic>
      <p:pic>
        <p:nvPicPr>
          <p:cNvPr id="3" name="Billede 2"/>
          <p:cNvPicPr>
            <a:picLocks noChangeAspect="1"/>
          </p:cNvPicPr>
          <p:nvPr/>
        </p:nvPicPr>
        <p:blipFill>
          <a:blip r:embed="rId3"/>
          <a:stretch>
            <a:fillRect/>
          </a:stretch>
        </p:blipFill>
        <p:spPr>
          <a:xfrm>
            <a:off x="2429552" y="2085787"/>
            <a:ext cx="6662773" cy="2619437"/>
          </a:xfrm>
          <a:prstGeom prst="rect">
            <a:avLst/>
          </a:prstGeom>
        </p:spPr>
      </p:pic>
    </p:spTree>
    <p:extLst>
      <p:ext uri="{BB962C8B-B14F-4D97-AF65-F5344CB8AC3E}">
        <p14:creationId xmlns:p14="http://schemas.microsoft.com/office/powerpoint/2010/main" val="18233159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EU Energy Dependency">
            <a:extLst>
              <a:ext uri="{FF2B5EF4-FFF2-40B4-BE49-F238E27FC236}">
                <a16:creationId xmlns:a16="http://schemas.microsoft.com/office/drawing/2014/main" id="{DB7F7E29-D69A-4F8B-AEF1-209DE77D134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5898" b="32344"/>
          <a:stretch/>
        </p:blipFill>
        <p:spPr bwMode="auto">
          <a:xfrm>
            <a:off x="4707173" y="954158"/>
            <a:ext cx="4500438" cy="393490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EU Energy Dependency">
            <a:extLst>
              <a:ext uri="{FF2B5EF4-FFF2-40B4-BE49-F238E27FC236}">
                <a16:creationId xmlns:a16="http://schemas.microsoft.com/office/drawing/2014/main" id="{2894CFED-14FE-4356-8BBC-5464CA6ACF9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67135"/>
          <a:stretch/>
        </p:blipFill>
        <p:spPr bwMode="auto">
          <a:xfrm>
            <a:off x="135173" y="2237795"/>
            <a:ext cx="4500438" cy="2498515"/>
          </a:xfrm>
          <a:prstGeom prst="rect">
            <a:avLst/>
          </a:prstGeom>
          <a:noFill/>
          <a:extLst>
            <a:ext uri="{909E8E84-426E-40DD-AFC4-6F175D3DCCD1}">
              <a14:hiddenFill xmlns:a14="http://schemas.microsoft.com/office/drawing/2010/main">
                <a:solidFill>
                  <a:srgbClr val="FFFFFF"/>
                </a:solidFill>
              </a14:hiddenFill>
            </a:ext>
          </a:extLst>
        </p:spPr>
      </p:pic>
      <p:sp>
        <p:nvSpPr>
          <p:cNvPr id="4" name="Tekstfelt 3">
            <a:extLst>
              <a:ext uri="{FF2B5EF4-FFF2-40B4-BE49-F238E27FC236}">
                <a16:creationId xmlns:a16="http://schemas.microsoft.com/office/drawing/2014/main" id="{E46D5CD6-B627-4B38-AEC2-B5FB4AAF39DE}"/>
              </a:ext>
            </a:extLst>
          </p:cNvPr>
          <p:cNvSpPr txBox="1"/>
          <p:nvPr/>
        </p:nvSpPr>
        <p:spPr>
          <a:xfrm>
            <a:off x="23856" y="4736310"/>
            <a:ext cx="2176686" cy="300082"/>
          </a:xfrm>
          <a:prstGeom prst="rect">
            <a:avLst/>
          </a:prstGeom>
          <a:noFill/>
        </p:spPr>
        <p:txBody>
          <a:bodyPr wrap="none" rtlCol="0">
            <a:spAutoFit/>
          </a:bodyPr>
          <a:lstStyle/>
          <a:p>
            <a:r>
              <a:rPr lang="en-US" dirty="0" err="1"/>
              <a:t>Kilder</a:t>
            </a:r>
            <a:r>
              <a:rPr lang="en-US" dirty="0"/>
              <a:t>: Eurostat, EIA, Statista</a:t>
            </a:r>
            <a:endParaRPr lang="da-DK" dirty="0"/>
          </a:p>
        </p:txBody>
      </p:sp>
      <p:pic>
        <p:nvPicPr>
          <p:cNvPr id="8" name="Picture 2" descr="EU Energy Dependency">
            <a:extLst>
              <a:ext uri="{FF2B5EF4-FFF2-40B4-BE49-F238E27FC236}">
                <a16:creationId xmlns:a16="http://schemas.microsoft.com/office/drawing/2014/main" id="{EF94B078-591E-481F-B08B-7AD5F357C85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 r="-1590" b="84102"/>
          <a:stretch/>
        </p:blipFill>
        <p:spPr bwMode="auto">
          <a:xfrm>
            <a:off x="135173" y="954158"/>
            <a:ext cx="4572000" cy="12085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56451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descr="Chart 1">
            <a:extLst>
              <a:ext uri="{FF2B5EF4-FFF2-40B4-BE49-F238E27FC236}">
                <a16:creationId xmlns:a16="http://schemas.microsoft.com/office/drawing/2014/main" id="{E0A8C93F-5E33-4E6E-990D-5FAA16113D8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5150"/>
          <a:stretch/>
        </p:blipFill>
        <p:spPr bwMode="auto">
          <a:xfrm>
            <a:off x="2408644" y="-53526"/>
            <a:ext cx="6735356" cy="3774379"/>
          </a:xfrm>
          <a:prstGeom prst="rect">
            <a:avLst/>
          </a:prstGeom>
          <a:noFill/>
          <a:extLst>
            <a:ext uri="{909E8E84-426E-40DD-AFC4-6F175D3DCCD1}">
              <a14:hiddenFill xmlns:a14="http://schemas.microsoft.com/office/drawing/2010/main">
                <a:solidFill>
                  <a:srgbClr val="FFFFFF"/>
                </a:solidFill>
              </a14:hiddenFill>
            </a:ext>
          </a:extLst>
        </p:spPr>
      </p:pic>
      <p:sp>
        <p:nvSpPr>
          <p:cNvPr id="6" name="Tekstfelt 5">
            <a:extLst>
              <a:ext uri="{FF2B5EF4-FFF2-40B4-BE49-F238E27FC236}">
                <a16:creationId xmlns:a16="http://schemas.microsoft.com/office/drawing/2014/main" id="{7ADA1183-1992-4628-A6F7-0E8BF6F29C39}"/>
              </a:ext>
            </a:extLst>
          </p:cNvPr>
          <p:cNvSpPr txBox="1"/>
          <p:nvPr/>
        </p:nvSpPr>
        <p:spPr>
          <a:xfrm>
            <a:off x="6124250" y="4841833"/>
            <a:ext cx="5546617" cy="215444"/>
          </a:xfrm>
          <a:prstGeom prst="rect">
            <a:avLst/>
          </a:prstGeom>
          <a:noFill/>
        </p:spPr>
        <p:txBody>
          <a:bodyPr wrap="square">
            <a:spAutoFit/>
          </a:bodyPr>
          <a:lstStyle/>
          <a:p>
            <a:r>
              <a:rPr lang="da-DK" sz="800" dirty="0"/>
              <a:t>https://www.dallasfed.org/research/energy/indicators/2022/en2202</a:t>
            </a:r>
          </a:p>
        </p:txBody>
      </p:sp>
      <p:sp>
        <p:nvSpPr>
          <p:cNvPr id="9" name="Titel 1">
            <a:extLst>
              <a:ext uri="{FF2B5EF4-FFF2-40B4-BE49-F238E27FC236}">
                <a16:creationId xmlns:a16="http://schemas.microsoft.com/office/drawing/2014/main" id="{E15AE552-8B5E-4C66-8465-AA2FE27FD2BE}"/>
              </a:ext>
            </a:extLst>
          </p:cNvPr>
          <p:cNvSpPr>
            <a:spLocks noGrp="1"/>
          </p:cNvSpPr>
          <p:nvPr>
            <p:ph type="title"/>
          </p:nvPr>
        </p:nvSpPr>
        <p:spPr>
          <a:xfrm>
            <a:off x="196377" y="531646"/>
            <a:ext cx="2096314" cy="1461021"/>
          </a:xfrm>
        </p:spPr>
        <p:txBody>
          <a:bodyPr>
            <a:normAutofit/>
          </a:bodyPr>
          <a:lstStyle/>
          <a:p>
            <a:r>
              <a:rPr lang="da-DK" dirty="0"/>
              <a:t>Priserne stiger</a:t>
            </a:r>
          </a:p>
        </p:txBody>
      </p:sp>
      <p:pic>
        <p:nvPicPr>
          <p:cNvPr id="10" name="Picture 2" descr="Europe chemical prices to rise as Russia-Ukraine war pushes energy costs  higher | ICIS">
            <a:extLst>
              <a:ext uri="{FF2B5EF4-FFF2-40B4-BE49-F238E27FC236}">
                <a16:creationId xmlns:a16="http://schemas.microsoft.com/office/drawing/2014/main" id="{B5052B1D-C3C3-4E03-AD39-E159D7AD89F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4874" y="2872025"/>
            <a:ext cx="3323083" cy="2271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73662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lede 5">
            <a:extLst>
              <a:ext uri="{FF2B5EF4-FFF2-40B4-BE49-F238E27FC236}">
                <a16:creationId xmlns:a16="http://schemas.microsoft.com/office/drawing/2014/main" id="{E387D0BD-DB6E-450F-9518-C4CAF90BEA24}"/>
              </a:ext>
            </a:extLst>
          </p:cNvPr>
          <p:cNvPicPr>
            <a:picLocks noChangeAspect="1"/>
          </p:cNvPicPr>
          <p:nvPr/>
        </p:nvPicPr>
        <p:blipFill>
          <a:blip r:embed="rId2"/>
          <a:stretch>
            <a:fillRect/>
          </a:stretch>
        </p:blipFill>
        <p:spPr>
          <a:xfrm>
            <a:off x="2908237" y="825967"/>
            <a:ext cx="5762917" cy="4281848"/>
          </a:xfrm>
          <a:prstGeom prst="rect">
            <a:avLst/>
          </a:prstGeom>
        </p:spPr>
      </p:pic>
      <p:sp>
        <p:nvSpPr>
          <p:cNvPr id="11" name="Titel 1">
            <a:extLst>
              <a:ext uri="{FF2B5EF4-FFF2-40B4-BE49-F238E27FC236}">
                <a16:creationId xmlns:a16="http://schemas.microsoft.com/office/drawing/2014/main" id="{B7C8D22A-0FF1-466A-BDDA-E357F5DE78EB}"/>
              </a:ext>
            </a:extLst>
          </p:cNvPr>
          <p:cNvSpPr txBox="1">
            <a:spLocks/>
          </p:cNvSpPr>
          <p:nvPr/>
        </p:nvSpPr>
        <p:spPr>
          <a:xfrm>
            <a:off x="196377" y="661000"/>
            <a:ext cx="2096314" cy="1461021"/>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b="0" i="0" kern="1200">
                <a:solidFill>
                  <a:schemeClr val="tx1"/>
                </a:solidFill>
                <a:latin typeface="Helvetica Light" charset="0"/>
                <a:ea typeface="Helvetica Light" charset="0"/>
                <a:cs typeface="Helvetica Light" charset="0"/>
              </a:defRPr>
            </a:lvl1pPr>
          </a:lstStyle>
          <a:p>
            <a:r>
              <a:rPr lang="da-DK" dirty="0"/>
              <a:t>Priserne stiger</a:t>
            </a:r>
          </a:p>
        </p:txBody>
      </p:sp>
    </p:spTree>
    <p:extLst>
      <p:ext uri="{BB962C8B-B14F-4D97-AF65-F5344CB8AC3E}">
        <p14:creationId xmlns:p14="http://schemas.microsoft.com/office/powerpoint/2010/main" val="14056840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led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46746" y="1046810"/>
            <a:ext cx="4801026" cy="3734131"/>
          </a:xfrm>
          <a:prstGeom prst="rect">
            <a:avLst/>
          </a:prstGeom>
        </p:spPr>
      </p:pic>
      <p:pic>
        <p:nvPicPr>
          <p:cNvPr id="4" name="Pladsholder til indhold 4">
            <a:extLst>
              <a:ext uri="{FF2B5EF4-FFF2-40B4-BE49-F238E27FC236}">
                <a16:creationId xmlns:a16="http://schemas.microsoft.com/office/drawing/2014/main" id="{94732874-062F-4E84-A152-65882803220B}"/>
              </a:ext>
            </a:extLst>
          </p:cNvPr>
          <p:cNvPicPr>
            <a:picLocks noGrp="1" noChangeAspect="1"/>
          </p:cNvPicPr>
          <p:nvPr>
            <p:ph idx="1"/>
          </p:nvPr>
        </p:nvPicPr>
        <p:blipFill>
          <a:blip r:embed="rId3"/>
          <a:stretch>
            <a:fillRect/>
          </a:stretch>
        </p:blipFill>
        <p:spPr>
          <a:xfrm>
            <a:off x="196228" y="1538868"/>
            <a:ext cx="3792257" cy="2768296"/>
          </a:xfrm>
        </p:spPr>
      </p:pic>
    </p:spTree>
    <p:extLst>
      <p:ext uri="{BB962C8B-B14F-4D97-AF65-F5344CB8AC3E}">
        <p14:creationId xmlns:p14="http://schemas.microsoft.com/office/powerpoint/2010/main" val="2866492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ontortema">
  <a:themeElements>
    <a:clrScheme name="Kontortema">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ontortema">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Kontor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1A0558F238722E4A87858A261B385A9A" ma:contentTypeVersion="13" ma:contentTypeDescription="Opret et nyt dokument." ma:contentTypeScope="" ma:versionID="3a5dece86fb001fd638b6a61ebeda4a5">
  <xsd:schema xmlns:xsd="http://www.w3.org/2001/XMLSchema" xmlns:xs="http://www.w3.org/2001/XMLSchema" xmlns:p="http://schemas.microsoft.com/office/2006/metadata/properties" xmlns:ns3="5d1b4fd4-c07b-4c84-89e3-bdde29d7bf6f" xmlns:ns4="93de73cf-449c-470b-a45d-fc882adeee99" targetNamespace="http://schemas.microsoft.com/office/2006/metadata/properties" ma:root="true" ma:fieldsID="3d6db5ca17769a35800639445fadbe17" ns3:_="" ns4:_="">
    <xsd:import namespace="5d1b4fd4-c07b-4c84-89e3-bdde29d7bf6f"/>
    <xsd:import namespace="93de73cf-449c-470b-a45d-fc882adeee99"/>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ServiceAutoTags" minOccurs="0"/>
                <xsd:element ref="ns4:MediaServiceLocation" minOccurs="0"/>
                <xsd:element ref="ns4:MediaServiceGenerationTime" minOccurs="0"/>
                <xsd:element ref="ns4:MediaServiceEventHashCode"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d1b4fd4-c07b-4c84-89e3-bdde29d7bf6f" elementFormDefault="qualified">
    <xsd:import namespace="http://schemas.microsoft.com/office/2006/documentManagement/types"/>
    <xsd:import namespace="http://schemas.microsoft.com/office/infopath/2007/PartnerControls"/>
    <xsd:element name="SharedWithUsers" ma:index="8" nillable="true" ma:displayName="Delt med"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Delt med detaljer" ma:description="" ma:internalName="SharedWithDetails" ma:readOnly="true">
      <xsd:simpleType>
        <xsd:restriction base="dms:Note">
          <xsd:maxLength value="255"/>
        </xsd:restriction>
      </xsd:simpleType>
    </xsd:element>
    <xsd:element name="SharingHintHash" ma:index="10" nillable="true" ma:displayName="Hashværdi for deling"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de73cf-449c-470b-a45d-fc882adeee99"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5A6A744-C688-40AE-B1E6-0992CE6830AE}">
  <ds:schemaRefs>
    <ds:schemaRef ds:uri="http://schemas.microsoft.com/sharepoint/v3/contenttype/forms"/>
  </ds:schemaRefs>
</ds:datastoreItem>
</file>

<file path=customXml/itemProps2.xml><?xml version="1.0" encoding="utf-8"?>
<ds:datastoreItem xmlns:ds="http://schemas.openxmlformats.org/officeDocument/2006/customXml" ds:itemID="{B21ACEEE-0E55-4345-950C-91C0F466D774}">
  <ds:schemaRefs>
    <ds:schemaRef ds:uri="http://purl.org/dc/terms/"/>
    <ds:schemaRef ds:uri="http://www.w3.org/XML/1998/namespace"/>
    <ds:schemaRef ds:uri="5d1b4fd4-c07b-4c84-89e3-bdde29d7bf6f"/>
    <ds:schemaRef ds:uri="http://purl.org/dc/elements/1.1/"/>
    <ds:schemaRef ds:uri="http://schemas.microsoft.com/office/2006/documentManagement/types"/>
    <ds:schemaRef ds:uri="http://purl.org/dc/dcmitype/"/>
    <ds:schemaRef ds:uri="http://schemas.microsoft.com/office/2006/metadata/properties"/>
    <ds:schemaRef ds:uri="93de73cf-449c-470b-a45d-fc882adeee99"/>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5F1370B9-8D2E-4A43-8BD9-6A50A6BFC1D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d1b4fd4-c07b-4c84-89e3-bdde29d7bf6f"/>
    <ds:schemaRef ds:uri="93de73cf-449c-470b-a45d-fc882adeee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10314</TotalTime>
  <Words>3346</Words>
  <Application>Microsoft Office PowerPoint</Application>
  <PresentationFormat>Skærmshow (16:9)</PresentationFormat>
  <Paragraphs>373</Paragraphs>
  <Slides>58</Slides>
  <Notes>6</Notes>
  <HiddenSlides>0</HiddenSlides>
  <MMClips>0</MMClips>
  <ScaleCrop>false</ScaleCrop>
  <HeadingPairs>
    <vt:vector size="8" baseType="variant">
      <vt:variant>
        <vt:lpstr>Benyttede skrifttyper</vt:lpstr>
      </vt:variant>
      <vt:variant>
        <vt:i4>8</vt:i4>
      </vt:variant>
      <vt:variant>
        <vt:lpstr>Tema</vt:lpstr>
      </vt:variant>
      <vt:variant>
        <vt:i4>1</vt:i4>
      </vt:variant>
      <vt:variant>
        <vt:lpstr>Integrerede OLE-servere</vt:lpstr>
      </vt:variant>
      <vt:variant>
        <vt:i4>1</vt:i4>
      </vt:variant>
      <vt:variant>
        <vt:lpstr>Slidetitler</vt:lpstr>
      </vt:variant>
      <vt:variant>
        <vt:i4>58</vt:i4>
      </vt:variant>
    </vt:vector>
  </HeadingPairs>
  <TitlesOfParts>
    <vt:vector size="68" baseType="lpstr">
      <vt:lpstr>Arial</vt:lpstr>
      <vt:lpstr>Calibri</vt:lpstr>
      <vt:lpstr>Calibri Light</vt:lpstr>
      <vt:lpstr>Helvetica Light</vt:lpstr>
      <vt:lpstr>Times New Roman</vt:lpstr>
      <vt:lpstr>TrueGillSansOneBold</vt:lpstr>
      <vt:lpstr>TwitterChirp</vt:lpstr>
      <vt:lpstr>Wingdings</vt:lpstr>
      <vt:lpstr>Kontortema</vt:lpstr>
      <vt:lpstr>think-cell Slide</vt:lpstr>
      <vt:lpstr>PowerPoint-præsentation</vt:lpstr>
      <vt:lpstr>Europa hungrer efter olie og gas</vt:lpstr>
      <vt:lpstr>Europa hungrer efter olie og gas</vt:lpstr>
      <vt:lpstr>Priserne stiger</vt:lpstr>
      <vt:lpstr>Stor afhængighed af kul</vt:lpstr>
      <vt:lpstr>PowerPoint-præsentation</vt:lpstr>
      <vt:lpstr>Priserne stiger</vt:lpstr>
      <vt:lpstr>PowerPoint-præsentation</vt:lpstr>
      <vt:lpstr>PowerPoint-præsentation</vt:lpstr>
      <vt:lpstr>PowerPoint-præsentation</vt:lpstr>
      <vt:lpstr>I Danmark udgør naturgas 16% af energiforbruget</vt:lpstr>
      <vt:lpstr>Resultatet af 40 års energiplanlægning i Danmark</vt:lpstr>
      <vt:lpstr>Fokus på 1) teknologier der spiller godt sammen og 2) industri, eksport og jobs</vt:lpstr>
      <vt:lpstr>Energilagring</vt:lpstr>
      <vt:lpstr>Klimaneutralt Danmark 2045</vt:lpstr>
      <vt:lpstr>Potentialet i EU alene er 40 gange investeringerne i Danmark mod 2030/2050</vt:lpstr>
      <vt:lpstr>Varmesektoren som en del af det samlede energisystem</vt:lpstr>
      <vt:lpstr>Varmeplan Danmark 2021</vt:lpstr>
      <vt:lpstr>Industriel overskudsvarme</vt:lpstr>
      <vt:lpstr>Kortlægning af potentialer for geotermi og overskudsvarme</vt:lpstr>
      <vt:lpstr>Store potentialer for geotermi og overskudsvarme</vt:lpstr>
      <vt:lpstr>Fjernvarmen bør udbygges til 63-70%</vt:lpstr>
      <vt:lpstr>En del af en samlet løsning En varmesektor under forandring</vt:lpstr>
      <vt:lpstr>Fire hovedpointer</vt:lpstr>
      <vt:lpstr>7 forskellige GIS analyser</vt:lpstr>
      <vt:lpstr>Kortlægning af varmebehov</vt:lpstr>
      <vt:lpstr>Overordnet kort over varmedensitet</vt:lpstr>
      <vt:lpstr>Potentialet for geotermi</vt:lpstr>
      <vt:lpstr>Industriel overskudsvarme</vt:lpstr>
      <vt:lpstr>Kort fra Varmeplan Danmark 2021 tilgængelige online</vt:lpstr>
      <vt:lpstr>Varmebehov i byområder</vt:lpstr>
      <vt:lpstr>PowerPoint-præsentation</vt:lpstr>
      <vt:lpstr>PowerPoint-præsentation</vt:lpstr>
      <vt:lpstr>PowerPoint-præsentation</vt:lpstr>
      <vt:lpstr>EUs primær energiforsyning</vt:lpstr>
      <vt:lpstr>Annuiserede omkostninger</vt:lpstr>
      <vt:lpstr>Heat supply in different countries</vt:lpstr>
      <vt:lpstr>Elproduktion i EU i 2050?</vt:lpstr>
      <vt:lpstr>Tak for opmærksomheden</vt:lpstr>
      <vt:lpstr>Extra slides</vt:lpstr>
      <vt:lpstr>Energikrisen  – Akutte europæiske tiltag og nedlukning ved pludseligt stop for russisk gas </vt:lpstr>
      <vt:lpstr>Energikrisen  – Akutte danske tiltag og nedlukning ved pludseligt stop for russisk gas </vt:lpstr>
      <vt:lpstr>Energikrisen  – Europæiske tiltag med effekt på kort sigt (2-3 år)  </vt:lpstr>
      <vt:lpstr>Energikrisen  – Danske tiltag med effekt på kort sigt (2-3 år)  </vt:lpstr>
      <vt:lpstr>Energikrisen  – Danske tiltag med effekt på kort sigt (2-3 år)  </vt:lpstr>
      <vt:lpstr>Energikrisen  –Europæiske tiltag med et mellemlangt perspektiv (5-8 år)  </vt:lpstr>
      <vt:lpstr>Energikrisen  –Danske tiltag med et mellemlangt perspektiv (5-8 år)  </vt:lpstr>
      <vt:lpstr>Energikrisen  –Danske tiltag med et mellemlangt perspektiv (5-8 år)  </vt:lpstr>
      <vt:lpstr>Vi er nu i den 3. energikrise – EU/verden er dårligt rustet</vt:lpstr>
      <vt:lpstr>Heating supply</vt:lpstr>
      <vt:lpstr>Heating supply</vt:lpstr>
      <vt:lpstr>3 a-kraft debatter i en</vt:lpstr>
      <vt:lpstr>PowerPoint-præsentation</vt:lpstr>
      <vt:lpstr>Den atomkraft vi kan købe nu?</vt:lpstr>
      <vt:lpstr>CO2 - Udfordringen</vt:lpstr>
      <vt:lpstr>Velkendte teknologier</vt:lpstr>
      <vt:lpstr> Nye delvist Velkendte teknologier</vt:lpstr>
      <vt:lpstr>Teknologiske udfordringer:  Nye teknologier, der skal udvikles på</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Trine Bruun</dc:creator>
  <cp:lastModifiedBy>Brian Vad Mathiesen</cp:lastModifiedBy>
  <cp:revision>199</cp:revision>
  <cp:lastPrinted>2022-05-12T07:05:05Z</cp:lastPrinted>
  <dcterms:created xsi:type="dcterms:W3CDTF">2017-05-02T14:04:25Z</dcterms:created>
  <dcterms:modified xsi:type="dcterms:W3CDTF">2022-05-17T11:43: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0558F238722E4A87858A261B385A9A</vt:lpwstr>
  </property>
</Properties>
</file>